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9" r:id="rId1"/>
  </p:sldMasterIdLst>
  <p:notesMasterIdLst>
    <p:notesMasterId r:id="rId9"/>
  </p:notesMasterIdLst>
  <p:sldIdLst>
    <p:sldId id="257" r:id="rId2"/>
    <p:sldId id="261" r:id="rId3"/>
    <p:sldId id="262" r:id="rId4"/>
    <p:sldId id="263" r:id="rId5"/>
    <p:sldId id="264" r:id="rId6"/>
    <p:sldId id="265" r:id="rId7"/>
    <p:sldId id="266" r:id="rId8"/>
  </p:sldIdLst>
  <p:sldSz cx="9144000" cy="5143500" type="screen16x9"/>
  <p:notesSz cx="6858000" cy="9144000"/>
  <p:embeddedFontLst>
    <p:embeddedFont>
      <p:font typeface="Open Sans" panose="020B0604020202020204" charset="0"/>
      <p:regular r:id="rId10"/>
      <p:bold r:id="rId11"/>
      <p:italic r:id="rId12"/>
      <p:boldItalic r:id="rId13"/>
    </p:embeddedFont>
  </p:embeddedFontLst>
  <p:custDataLst>
    <p:tags r:id="rId14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 varScale="1">
        <p:scale>
          <a:sx n="121" d="100"/>
          <a:sy n="121" d="100"/>
        </p:scale>
        <p:origin x="134" y="42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4.fntdata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font" Target="fonts/font3.fntdata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2.fntdata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font" Target="fonts/font1.fntdata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eyubai\Desktop\Udacity-BI\Project%204\Submissions\exported_data.csv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eyubai\Desktop\Udacity-BI\Project%204\Submissions\exported_data.csv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eyubai\Desktop\Udacity-BI\Project%204\Submissions\exported_data.csv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eyubai\Desktop\Udacity-BI\Project%204\Submissions\exported_data.csv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eyubai\Desktop\Udacity-BI\Project%204\Submissions\exported_data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eyubai\Desktop\Udacity-BI\Project%204\Submissions\exported_data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/>
              <a:t>Customer Countries</a:t>
            </a:r>
            <a:r>
              <a:rPr lang="en-US" altLang="zh-CN" baseline="0" dirty="0"/>
              <a:t> Bar Chart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customer_countries!$B$1</c:f>
              <c:strCache>
                <c:ptCount val="1"/>
                <c:pt idx="0">
                  <c:v>Amou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ustomer_countries!$A$2:$A$22</c:f>
              <c:strCache>
                <c:ptCount val="21"/>
                <c:pt idx="0">
                  <c:v>USA</c:v>
                </c:pt>
                <c:pt idx="1">
                  <c:v>France</c:v>
                </c:pt>
                <c:pt idx="2">
                  <c:v>Germany</c:v>
                </c:pt>
                <c:pt idx="3">
                  <c:v>Brazil</c:v>
                </c:pt>
                <c:pt idx="4">
                  <c:v>UK</c:v>
                </c:pt>
                <c:pt idx="5">
                  <c:v>Mexico</c:v>
                </c:pt>
                <c:pt idx="6">
                  <c:v>Spain</c:v>
                </c:pt>
                <c:pt idx="7">
                  <c:v>Venezuela</c:v>
                </c:pt>
                <c:pt idx="8">
                  <c:v>Argentina</c:v>
                </c:pt>
                <c:pt idx="9">
                  <c:v>Canada</c:v>
                </c:pt>
                <c:pt idx="10">
                  <c:v>Italy</c:v>
                </c:pt>
                <c:pt idx="11">
                  <c:v>Austria</c:v>
                </c:pt>
                <c:pt idx="12">
                  <c:v>Belgium</c:v>
                </c:pt>
                <c:pt idx="13">
                  <c:v>Denmark</c:v>
                </c:pt>
                <c:pt idx="14">
                  <c:v>Finland</c:v>
                </c:pt>
                <c:pt idx="15">
                  <c:v>Portugal</c:v>
                </c:pt>
                <c:pt idx="16">
                  <c:v>Sweden</c:v>
                </c:pt>
                <c:pt idx="17">
                  <c:v>Switzerland</c:v>
                </c:pt>
                <c:pt idx="18">
                  <c:v>Ireland</c:v>
                </c:pt>
                <c:pt idx="19">
                  <c:v>Norway</c:v>
                </c:pt>
                <c:pt idx="20">
                  <c:v>Poland</c:v>
                </c:pt>
              </c:strCache>
            </c:strRef>
          </c:cat>
          <c:val>
            <c:numRef>
              <c:f>customer_countries!$B$2:$B$22</c:f>
              <c:numCache>
                <c:formatCode>General</c:formatCode>
                <c:ptCount val="21"/>
                <c:pt idx="0">
                  <c:v>13</c:v>
                </c:pt>
                <c:pt idx="1">
                  <c:v>11</c:v>
                </c:pt>
                <c:pt idx="2">
                  <c:v>11</c:v>
                </c:pt>
                <c:pt idx="3">
                  <c:v>9</c:v>
                </c:pt>
                <c:pt idx="4">
                  <c:v>7</c:v>
                </c:pt>
                <c:pt idx="5">
                  <c:v>5</c:v>
                </c:pt>
                <c:pt idx="6">
                  <c:v>5</c:v>
                </c:pt>
                <c:pt idx="7">
                  <c:v>4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0CE-47E5-AC7B-B7E0BEE7A00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15704992"/>
        <c:axId val="515713848"/>
      </c:barChart>
      <c:catAx>
        <c:axId val="515704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5713848"/>
        <c:crosses val="autoZero"/>
        <c:auto val="1"/>
        <c:lblAlgn val="ctr"/>
        <c:lblOffset val="100"/>
        <c:noMultiLvlLbl val="0"/>
      </c:catAx>
      <c:valAx>
        <c:axId val="5157138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57049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xported_data.xlsx]top10_customers_categories!PivotTable12</c:name>
    <c:fmtId val="5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none" spc="0" normalizeH="0" baseline="0">
                <a:solidFill>
                  <a:schemeClr val="dk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en-US" dirty="0" smtClean="0"/>
              <a:t>Top</a:t>
            </a:r>
            <a:r>
              <a:rPr lang="en-US" baseline="0" dirty="0" smtClean="0"/>
              <a:t> 10 Companies and Purchased Product Categories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none" spc="0" normalizeH="0" baseline="0">
              <a:solidFill>
                <a:schemeClr val="dk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defRPr>
          </a:pPr>
          <a:endParaRPr lang="en-US"/>
        </a:p>
      </c:txPr>
    </c:title>
    <c:autoTitleDeleted val="0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op10_customers_categories!$G$4:$G$5</c:f>
              <c:strCache>
                <c:ptCount val="1"/>
                <c:pt idx="0">
                  <c:v>Beverag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op10_customers_categories!$F$6:$F$16</c:f>
              <c:strCache>
                <c:ptCount val="10"/>
                <c:pt idx="0">
                  <c:v>Ernst Handel</c:v>
                </c:pt>
                <c:pt idx="1">
                  <c:v>Folk och fï¿½ HB</c:v>
                </c:pt>
                <c:pt idx="2">
                  <c:v>Hanari Carnes</c:v>
                </c:pt>
                <c:pt idx="3">
                  <c:v>Hungry Owl All-Night Grocers</c:v>
                </c:pt>
                <c:pt idx="4">
                  <c:v>Kï¿½niglich Essen</c:v>
                </c:pt>
                <c:pt idx="5">
                  <c:v>Mï¿½re Paillarde</c:v>
                </c:pt>
                <c:pt idx="6">
                  <c:v>QUICK-Stop</c:v>
                </c:pt>
                <c:pt idx="7">
                  <c:v>Rattlesnake Canyon Grocery</c:v>
                </c:pt>
                <c:pt idx="8">
                  <c:v>Save-a-lot Markets</c:v>
                </c:pt>
                <c:pt idx="9">
                  <c:v>White Clover Markets</c:v>
                </c:pt>
              </c:strCache>
            </c:strRef>
          </c:cat>
          <c:val>
            <c:numRef>
              <c:f>top10_customers_categories!$G$6:$G$16</c:f>
              <c:numCache>
                <c:formatCode>General</c:formatCode>
                <c:ptCount val="10"/>
                <c:pt idx="0">
                  <c:v>12709.3</c:v>
                </c:pt>
                <c:pt idx="1">
                  <c:v>3865.32</c:v>
                </c:pt>
                <c:pt idx="2">
                  <c:v>20084.150000000001</c:v>
                </c:pt>
                <c:pt idx="3">
                  <c:v>3145.32</c:v>
                </c:pt>
                <c:pt idx="4">
                  <c:v>9455.1</c:v>
                </c:pt>
                <c:pt idx="5">
                  <c:v>9415.81</c:v>
                </c:pt>
                <c:pt idx="6">
                  <c:v>36216.43</c:v>
                </c:pt>
                <c:pt idx="7">
                  <c:v>19208.150000000001</c:v>
                </c:pt>
                <c:pt idx="8">
                  <c:v>10032</c:v>
                </c:pt>
                <c:pt idx="9">
                  <c:v>8884.7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C8F-4C6C-87BD-AE0FC3FD7B6B}"/>
            </c:ext>
          </c:extLst>
        </c:ser>
        <c:ser>
          <c:idx val="1"/>
          <c:order val="1"/>
          <c:tx>
            <c:strRef>
              <c:f>top10_customers_categories!$H$4:$H$5</c:f>
              <c:strCache>
                <c:ptCount val="1"/>
                <c:pt idx="0">
                  <c:v>Condiment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op10_customers_categories!$F$6:$F$16</c:f>
              <c:strCache>
                <c:ptCount val="10"/>
                <c:pt idx="0">
                  <c:v>Ernst Handel</c:v>
                </c:pt>
                <c:pt idx="1">
                  <c:v>Folk och fï¿½ HB</c:v>
                </c:pt>
                <c:pt idx="2">
                  <c:v>Hanari Carnes</c:v>
                </c:pt>
                <c:pt idx="3">
                  <c:v>Hungry Owl All-Night Grocers</c:v>
                </c:pt>
                <c:pt idx="4">
                  <c:v>Kï¿½niglich Essen</c:v>
                </c:pt>
                <c:pt idx="5">
                  <c:v>Mï¿½re Paillarde</c:v>
                </c:pt>
                <c:pt idx="6">
                  <c:v>QUICK-Stop</c:v>
                </c:pt>
                <c:pt idx="7">
                  <c:v>Rattlesnake Canyon Grocery</c:v>
                </c:pt>
                <c:pt idx="8">
                  <c:v>Save-a-lot Markets</c:v>
                </c:pt>
                <c:pt idx="9">
                  <c:v>White Clover Markets</c:v>
                </c:pt>
              </c:strCache>
            </c:strRef>
          </c:cat>
          <c:val>
            <c:numRef>
              <c:f>top10_customers_categories!$H$6:$H$16</c:f>
              <c:numCache>
                <c:formatCode>General</c:formatCode>
                <c:ptCount val="10"/>
                <c:pt idx="0">
                  <c:v>14070.0625</c:v>
                </c:pt>
                <c:pt idx="1">
                  <c:v>3651.5</c:v>
                </c:pt>
                <c:pt idx="2">
                  <c:v>2378.77</c:v>
                </c:pt>
                <c:pt idx="3">
                  <c:v>3477.625</c:v>
                </c:pt>
                <c:pt idx="4">
                  <c:v>1872</c:v>
                </c:pt>
                <c:pt idx="5">
                  <c:v>2809.5</c:v>
                </c:pt>
                <c:pt idx="6">
                  <c:v>9214.9349999999995</c:v>
                </c:pt>
                <c:pt idx="7">
                  <c:v>1503.2</c:v>
                </c:pt>
                <c:pt idx="8">
                  <c:v>7873</c:v>
                </c:pt>
                <c:pt idx="9">
                  <c:v>4174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C8F-4C6C-87BD-AE0FC3FD7B6B}"/>
            </c:ext>
          </c:extLst>
        </c:ser>
        <c:ser>
          <c:idx val="2"/>
          <c:order val="2"/>
          <c:tx>
            <c:strRef>
              <c:f>top10_customers_categories!$I$4:$I$5</c:f>
              <c:strCache>
                <c:ptCount val="1"/>
                <c:pt idx="0">
                  <c:v>Confection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op10_customers_categories!$F$6:$F$16</c:f>
              <c:strCache>
                <c:ptCount val="10"/>
                <c:pt idx="0">
                  <c:v>Ernst Handel</c:v>
                </c:pt>
                <c:pt idx="1">
                  <c:v>Folk och fï¿½ HB</c:v>
                </c:pt>
                <c:pt idx="2">
                  <c:v>Hanari Carnes</c:v>
                </c:pt>
                <c:pt idx="3">
                  <c:v>Hungry Owl All-Night Grocers</c:v>
                </c:pt>
                <c:pt idx="4">
                  <c:v>Kï¿½niglich Essen</c:v>
                </c:pt>
                <c:pt idx="5">
                  <c:v>Mï¿½re Paillarde</c:v>
                </c:pt>
                <c:pt idx="6">
                  <c:v>QUICK-Stop</c:v>
                </c:pt>
                <c:pt idx="7">
                  <c:v>Rattlesnake Canyon Grocery</c:v>
                </c:pt>
                <c:pt idx="8">
                  <c:v>Save-a-lot Markets</c:v>
                </c:pt>
                <c:pt idx="9">
                  <c:v>White Clover Markets</c:v>
                </c:pt>
              </c:strCache>
            </c:strRef>
          </c:cat>
          <c:val>
            <c:numRef>
              <c:f>top10_customers_categories!$I$6:$I$16</c:f>
              <c:numCache>
                <c:formatCode>General</c:formatCode>
                <c:ptCount val="10"/>
                <c:pt idx="0">
                  <c:v>12815.7575</c:v>
                </c:pt>
                <c:pt idx="1">
                  <c:v>978.93</c:v>
                </c:pt>
                <c:pt idx="2">
                  <c:v>1212</c:v>
                </c:pt>
                <c:pt idx="3">
                  <c:v>1676.38</c:v>
                </c:pt>
                <c:pt idx="4">
                  <c:v>4751.4639999999999</c:v>
                </c:pt>
                <c:pt idx="5">
                  <c:v>2915.605</c:v>
                </c:pt>
                <c:pt idx="6">
                  <c:v>18530.09</c:v>
                </c:pt>
                <c:pt idx="7">
                  <c:v>10947.213</c:v>
                </c:pt>
                <c:pt idx="8">
                  <c:v>11900.07</c:v>
                </c:pt>
                <c:pt idx="9">
                  <c:v>3714.1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C8F-4C6C-87BD-AE0FC3FD7B6B}"/>
            </c:ext>
          </c:extLst>
        </c:ser>
        <c:ser>
          <c:idx val="3"/>
          <c:order val="3"/>
          <c:tx>
            <c:strRef>
              <c:f>top10_customers_categories!$J$4:$J$5</c:f>
              <c:strCache>
                <c:ptCount val="1"/>
                <c:pt idx="0">
                  <c:v>Dairy Product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top10_customers_categories!$F$6:$F$16</c:f>
              <c:strCache>
                <c:ptCount val="10"/>
                <c:pt idx="0">
                  <c:v>Ernst Handel</c:v>
                </c:pt>
                <c:pt idx="1">
                  <c:v>Folk och fï¿½ HB</c:v>
                </c:pt>
                <c:pt idx="2">
                  <c:v>Hanari Carnes</c:v>
                </c:pt>
                <c:pt idx="3">
                  <c:v>Hungry Owl All-Night Grocers</c:v>
                </c:pt>
                <c:pt idx="4">
                  <c:v>Kï¿½niglich Essen</c:v>
                </c:pt>
                <c:pt idx="5">
                  <c:v>Mï¿½re Paillarde</c:v>
                </c:pt>
                <c:pt idx="6">
                  <c:v>QUICK-Stop</c:v>
                </c:pt>
                <c:pt idx="7">
                  <c:v>Rattlesnake Canyon Grocery</c:v>
                </c:pt>
                <c:pt idx="8">
                  <c:v>Save-a-lot Markets</c:v>
                </c:pt>
                <c:pt idx="9">
                  <c:v>White Clover Markets</c:v>
                </c:pt>
              </c:strCache>
            </c:strRef>
          </c:cat>
          <c:val>
            <c:numRef>
              <c:f>top10_customers_categories!$J$6:$J$16</c:f>
              <c:numCache>
                <c:formatCode>General</c:formatCode>
                <c:ptCount val="10"/>
                <c:pt idx="0">
                  <c:v>24496.46</c:v>
                </c:pt>
                <c:pt idx="1">
                  <c:v>3654.95</c:v>
                </c:pt>
                <c:pt idx="2">
                  <c:v>2252.9</c:v>
                </c:pt>
                <c:pt idx="3">
                  <c:v>9010.11</c:v>
                </c:pt>
                <c:pt idx="4">
                  <c:v>7098.25</c:v>
                </c:pt>
                <c:pt idx="5">
                  <c:v>4766.625</c:v>
                </c:pt>
                <c:pt idx="6">
                  <c:v>13800.85</c:v>
                </c:pt>
                <c:pt idx="7">
                  <c:v>7854.87</c:v>
                </c:pt>
                <c:pt idx="8">
                  <c:v>21107.1</c:v>
                </c:pt>
                <c:pt idx="9">
                  <c:v>3297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C8F-4C6C-87BD-AE0FC3FD7B6B}"/>
            </c:ext>
          </c:extLst>
        </c:ser>
        <c:ser>
          <c:idx val="4"/>
          <c:order val="4"/>
          <c:tx>
            <c:strRef>
              <c:f>top10_customers_categories!$K$4:$K$5</c:f>
              <c:strCache>
                <c:ptCount val="1"/>
                <c:pt idx="0">
                  <c:v>Grains/Cereals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top10_customers_categories!$F$6:$F$16</c:f>
              <c:strCache>
                <c:ptCount val="10"/>
                <c:pt idx="0">
                  <c:v>Ernst Handel</c:v>
                </c:pt>
                <c:pt idx="1">
                  <c:v>Folk och fï¿½ HB</c:v>
                </c:pt>
                <c:pt idx="2">
                  <c:v>Hanari Carnes</c:v>
                </c:pt>
                <c:pt idx="3">
                  <c:v>Hungry Owl All-Night Grocers</c:v>
                </c:pt>
                <c:pt idx="4">
                  <c:v>Kï¿½niglich Essen</c:v>
                </c:pt>
                <c:pt idx="5">
                  <c:v>Mï¿½re Paillarde</c:v>
                </c:pt>
                <c:pt idx="6">
                  <c:v>QUICK-Stop</c:v>
                </c:pt>
                <c:pt idx="7">
                  <c:v>Rattlesnake Canyon Grocery</c:v>
                </c:pt>
                <c:pt idx="8">
                  <c:v>Save-a-lot Markets</c:v>
                </c:pt>
                <c:pt idx="9">
                  <c:v>White Clover Markets</c:v>
                </c:pt>
              </c:strCache>
            </c:strRef>
          </c:cat>
          <c:val>
            <c:numRef>
              <c:f>top10_customers_categories!$K$6:$K$16</c:f>
              <c:numCache>
                <c:formatCode>General</c:formatCode>
                <c:ptCount val="10"/>
                <c:pt idx="0">
                  <c:v>12737.7</c:v>
                </c:pt>
                <c:pt idx="1">
                  <c:v>3021</c:v>
                </c:pt>
                <c:pt idx="2">
                  <c:v>641.4</c:v>
                </c:pt>
                <c:pt idx="3">
                  <c:v>1442.4</c:v>
                </c:pt>
                <c:pt idx="5">
                  <c:v>4553.8500000000004</c:v>
                </c:pt>
                <c:pt idx="6">
                  <c:v>5310.9</c:v>
                </c:pt>
                <c:pt idx="7">
                  <c:v>4831.3050000000003</c:v>
                </c:pt>
                <c:pt idx="8">
                  <c:v>8298.1</c:v>
                </c:pt>
                <c:pt idx="9">
                  <c:v>577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C8F-4C6C-87BD-AE0FC3FD7B6B}"/>
            </c:ext>
          </c:extLst>
        </c:ser>
        <c:ser>
          <c:idx val="5"/>
          <c:order val="5"/>
          <c:tx>
            <c:strRef>
              <c:f>top10_customers_categories!$L$4:$L$5</c:f>
              <c:strCache>
                <c:ptCount val="1"/>
                <c:pt idx="0">
                  <c:v>Meat/Poultry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top10_customers_categories!$F$6:$F$16</c:f>
              <c:strCache>
                <c:ptCount val="10"/>
                <c:pt idx="0">
                  <c:v>Ernst Handel</c:v>
                </c:pt>
                <c:pt idx="1">
                  <c:v>Folk och fï¿½ HB</c:v>
                </c:pt>
                <c:pt idx="2">
                  <c:v>Hanari Carnes</c:v>
                </c:pt>
                <c:pt idx="3">
                  <c:v>Hungry Owl All-Night Grocers</c:v>
                </c:pt>
                <c:pt idx="4">
                  <c:v>Kï¿½niglich Essen</c:v>
                </c:pt>
                <c:pt idx="5">
                  <c:v>Mï¿½re Paillarde</c:v>
                </c:pt>
                <c:pt idx="6">
                  <c:v>QUICK-Stop</c:v>
                </c:pt>
                <c:pt idx="7">
                  <c:v>Rattlesnake Canyon Grocery</c:v>
                </c:pt>
                <c:pt idx="8">
                  <c:v>Save-a-lot Markets</c:v>
                </c:pt>
                <c:pt idx="9">
                  <c:v>White Clover Markets</c:v>
                </c:pt>
              </c:strCache>
            </c:strRef>
          </c:cat>
          <c:val>
            <c:numRef>
              <c:f>top10_customers_categories!$L$6:$L$16</c:f>
              <c:numCache>
                <c:formatCode>General</c:formatCode>
                <c:ptCount val="10"/>
                <c:pt idx="0">
                  <c:v>8325.5560000000005</c:v>
                </c:pt>
                <c:pt idx="1">
                  <c:v>5398.125</c:v>
                </c:pt>
                <c:pt idx="2">
                  <c:v>585</c:v>
                </c:pt>
                <c:pt idx="3">
                  <c:v>20914.23</c:v>
                </c:pt>
                <c:pt idx="4">
                  <c:v>4254.42</c:v>
                </c:pt>
                <c:pt idx="5">
                  <c:v>2074.8000000000002</c:v>
                </c:pt>
                <c:pt idx="6">
                  <c:v>9754.9599999999991</c:v>
                </c:pt>
                <c:pt idx="7">
                  <c:v>3657.28</c:v>
                </c:pt>
                <c:pt idx="8">
                  <c:v>27659.18</c:v>
                </c:pt>
                <c:pt idx="9">
                  <c:v>3707.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C8F-4C6C-87BD-AE0FC3FD7B6B}"/>
            </c:ext>
          </c:extLst>
        </c:ser>
        <c:ser>
          <c:idx val="6"/>
          <c:order val="6"/>
          <c:tx>
            <c:strRef>
              <c:f>top10_customers_categories!$M$4:$M$5</c:f>
              <c:strCache>
                <c:ptCount val="1"/>
                <c:pt idx="0">
                  <c:v>Produce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top10_customers_categories!$F$6:$F$16</c:f>
              <c:strCache>
                <c:ptCount val="10"/>
                <c:pt idx="0">
                  <c:v>Ernst Handel</c:v>
                </c:pt>
                <c:pt idx="1">
                  <c:v>Folk och fï¿½ HB</c:v>
                </c:pt>
                <c:pt idx="2">
                  <c:v>Hanari Carnes</c:v>
                </c:pt>
                <c:pt idx="3">
                  <c:v>Hungry Owl All-Night Grocers</c:v>
                </c:pt>
                <c:pt idx="4">
                  <c:v>Kï¿½niglich Essen</c:v>
                </c:pt>
                <c:pt idx="5">
                  <c:v>Mï¿½re Paillarde</c:v>
                </c:pt>
                <c:pt idx="6">
                  <c:v>QUICK-Stop</c:v>
                </c:pt>
                <c:pt idx="7">
                  <c:v>Rattlesnake Canyon Grocery</c:v>
                </c:pt>
                <c:pt idx="8">
                  <c:v>Save-a-lot Markets</c:v>
                </c:pt>
                <c:pt idx="9">
                  <c:v>White Clover Markets</c:v>
                </c:pt>
              </c:strCache>
            </c:strRef>
          </c:cat>
          <c:val>
            <c:numRef>
              <c:f>top10_customers_categories!$M$6:$M$16</c:f>
              <c:numCache>
                <c:formatCode>General</c:formatCode>
                <c:ptCount val="10"/>
                <c:pt idx="0">
                  <c:v>12469.6675</c:v>
                </c:pt>
                <c:pt idx="1">
                  <c:v>6464</c:v>
                </c:pt>
                <c:pt idx="2">
                  <c:v>1261.4000000000001</c:v>
                </c:pt>
                <c:pt idx="3">
                  <c:v>3414.66</c:v>
                </c:pt>
                <c:pt idx="4">
                  <c:v>167.4</c:v>
                </c:pt>
                <c:pt idx="5">
                  <c:v>240</c:v>
                </c:pt>
                <c:pt idx="6">
                  <c:v>8081.4</c:v>
                </c:pt>
                <c:pt idx="7">
                  <c:v>2211.0524999999998</c:v>
                </c:pt>
                <c:pt idx="8">
                  <c:v>3887.9</c:v>
                </c:pt>
                <c:pt idx="9">
                  <c:v>18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C8F-4C6C-87BD-AE0FC3FD7B6B}"/>
            </c:ext>
          </c:extLst>
        </c:ser>
        <c:ser>
          <c:idx val="7"/>
          <c:order val="7"/>
          <c:tx>
            <c:strRef>
              <c:f>top10_customers_categories!$N$4:$N$5</c:f>
              <c:strCache>
                <c:ptCount val="1"/>
                <c:pt idx="0">
                  <c:v>Seafood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top10_customers_categories!$F$6:$F$16</c:f>
              <c:strCache>
                <c:ptCount val="10"/>
                <c:pt idx="0">
                  <c:v>Ernst Handel</c:v>
                </c:pt>
                <c:pt idx="1">
                  <c:v>Folk och fï¿½ HB</c:v>
                </c:pt>
                <c:pt idx="2">
                  <c:v>Hanari Carnes</c:v>
                </c:pt>
                <c:pt idx="3">
                  <c:v>Hungry Owl All-Night Grocers</c:v>
                </c:pt>
                <c:pt idx="4">
                  <c:v>Kï¿½niglich Essen</c:v>
                </c:pt>
                <c:pt idx="5">
                  <c:v>Mï¿½re Paillarde</c:v>
                </c:pt>
                <c:pt idx="6">
                  <c:v>QUICK-Stop</c:v>
                </c:pt>
                <c:pt idx="7">
                  <c:v>Rattlesnake Canyon Grocery</c:v>
                </c:pt>
                <c:pt idx="8">
                  <c:v>Save-a-lot Markets</c:v>
                </c:pt>
                <c:pt idx="9">
                  <c:v>White Clover Markets</c:v>
                </c:pt>
              </c:strCache>
            </c:strRef>
          </c:cat>
          <c:val>
            <c:numRef>
              <c:f>top10_customers_categories!$N$6:$N$16</c:f>
              <c:numCache>
                <c:formatCode>General</c:formatCode>
                <c:ptCount val="10"/>
                <c:pt idx="0">
                  <c:v>7250.4750000000004</c:v>
                </c:pt>
                <c:pt idx="1">
                  <c:v>2533.7375000000002</c:v>
                </c:pt>
                <c:pt idx="2">
                  <c:v>4425.75</c:v>
                </c:pt>
                <c:pt idx="3">
                  <c:v>6899.18</c:v>
                </c:pt>
                <c:pt idx="4">
                  <c:v>3309.75</c:v>
                </c:pt>
                <c:pt idx="5">
                  <c:v>2096</c:v>
                </c:pt>
                <c:pt idx="6">
                  <c:v>9367.74</c:v>
                </c:pt>
                <c:pt idx="7">
                  <c:v>884.73</c:v>
                </c:pt>
                <c:pt idx="8">
                  <c:v>13604.6</c:v>
                </c:pt>
                <c:pt idx="9">
                  <c:v>28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C8F-4C6C-87BD-AE0FC3FD7B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67"/>
        <c:overlap val="-43"/>
        <c:axId val="696206496"/>
        <c:axId val="696205184"/>
      </c:barChart>
      <c:catAx>
        <c:axId val="69620649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none" spc="0" normalizeH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96205184"/>
        <c:crosses val="autoZero"/>
        <c:auto val="1"/>
        <c:lblAlgn val="ctr"/>
        <c:lblOffset val="100"/>
        <c:noMultiLvlLbl val="0"/>
      </c:catAx>
      <c:valAx>
        <c:axId val="6962051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96206496"/>
        <c:crosses val="autoZero"/>
        <c:crossBetween val="between"/>
      </c:valAx>
      <c:spPr>
        <a:pattFill prst="ltDnDiag">
          <a:fgClr>
            <a:schemeClr val="dk1">
              <a:lumMod val="15000"/>
              <a:lumOff val="85000"/>
            </a:schemeClr>
          </a:fgClr>
          <a:bgClr>
            <a:schemeClr val="lt1"/>
          </a:bgClr>
        </a:pattFill>
        <a:ln>
          <a:noFill/>
        </a:ln>
        <a:effectLst/>
      </c:spPr>
    </c:plotArea>
    <c:plotVisOnly val="1"/>
    <c:dispBlanksAs val="gap"/>
    <c:showDLblsOverMax val="0"/>
  </c:chart>
  <c:spPr>
    <a:solidFill>
      <a:schemeClr val="lt1"/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 smtClean="0"/>
              <a:t>Top 10 Suppliers and Order Amount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op10_suppliers_amount!$B$1</c:f>
              <c:strCache>
                <c:ptCount val="1"/>
                <c:pt idx="0">
                  <c:v>TotalCos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op10_suppliers_amount!$A$2:$A$11</c:f>
              <c:strCache>
                <c:ptCount val="10"/>
                <c:pt idx="0">
                  <c:v>Aux joyeux ecclï¿½siastiques</c:v>
                </c:pt>
                <c:pt idx="1">
                  <c:v>Plutzer Lebensmittelgroï¿½mï¿½rkte AG</c:v>
                </c:pt>
                <c:pt idx="2">
                  <c:v>Gai pï¿½turage</c:v>
                </c:pt>
                <c:pt idx="3">
                  <c:v>Pavlova, Ltd.</c:v>
                </c:pt>
                <c:pt idx="4">
                  <c:v>G'day, Mate</c:v>
                </c:pt>
                <c:pt idx="5">
                  <c:v>Forï¿½ts d'ï¿½rables</c:v>
                </c:pt>
                <c:pt idx="6">
                  <c:v>Pasta Buttini s.r.l.</c:v>
                </c:pt>
                <c:pt idx="7">
                  <c:v>Formaggi Fortini s.r.l.</c:v>
                </c:pt>
                <c:pt idx="8">
                  <c:v>Specialty Biscuits, Ltd.</c:v>
                </c:pt>
                <c:pt idx="9">
                  <c:v>Norske Meierier</c:v>
                </c:pt>
              </c:strCache>
            </c:strRef>
          </c:cat>
          <c:val>
            <c:numRef>
              <c:f>top10_suppliers_amount!$B$2:$B$11</c:f>
              <c:numCache>
                <c:formatCode>General</c:formatCode>
                <c:ptCount val="10"/>
                <c:pt idx="0">
                  <c:v>153691.27499999999</c:v>
                </c:pt>
                <c:pt idx="1">
                  <c:v>145372.3995</c:v>
                </c:pt>
                <c:pt idx="2">
                  <c:v>117981.18</c:v>
                </c:pt>
                <c:pt idx="3">
                  <c:v>106459.7755</c:v>
                </c:pt>
                <c:pt idx="4">
                  <c:v>65626.77</c:v>
                </c:pt>
                <c:pt idx="5">
                  <c:v>61587.57</c:v>
                </c:pt>
                <c:pt idx="6">
                  <c:v>50254.61</c:v>
                </c:pt>
                <c:pt idx="7">
                  <c:v>48225.165000000001</c:v>
                </c:pt>
                <c:pt idx="8">
                  <c:v>46243.98</c:v>
                </c:pt>
                <c:pt idx="9">
                  <c:v>43141.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B5F-4856-9B28-A7462B195A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96194688"/>
        <c:axId val="696195016"/>
      </c:barChart>
      <c:catAx>
        <c:axId val="6961946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96195016"/>
        <c:crosses val="autoZero"/>
        <c:auto val="1"/>
        <c:lblAlgn val="ctr"/>
        <c:lblOffset val="100"/>
        <c:noMultiLvlLbl val="0"/>
      </c:catAx>
      <c:valAx>
        <c:axId val="696195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961946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xported_data.xlsx]top10_suppliers_product_categor!PivotTable15</c:name>
    <c:fmtId val="5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 smtClean="0"/>
              <a:t>Top 10 Suppliers and Product Categories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</c:pivotFmts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op10_suppliers_product_categor!$I$4:$I$5</c:f>
              <c:strCache>
                <c:ptCount val="1"/>
                <c:pt idx="0">
                  <c:v>Beverag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op10_suppliers_product_categor!$H$6:$H$16</c:f>
              <c:strCache>
                <c:ptCount val="10"/>
                <c:pt idx="0">
                  <c:v>Aux joyeux ecclï¿½siastiques</c:v>
                </c:pt>
                <c:pt idx="1">
                  <c:v>Forï¿½ts d'ï¿½rables</c:v>
                </c:pt>
                <c:pt idx="2">
                  <c:v>Formaggi Fortini s.r.l.</c:v>
                </c:pt>
                <c:pt idx="3">
                  <c:v>Gai pï¿½turage</c:v>
                </c:pt>
                <c:pt idx="4">
                  <c:v>G'day, Mate</c:v>
                </c:pt>
                <c:pt idx="5">
                  <c:v>Norske Meierier</c:v>
                </c:pt>
                <c:pt idx="6">
                  <c:v>Pasta Buttini s.r.l.</c:v>
                </c:pt>
                <c:pt idx="7">
                  <c:v>Pavlova, Ltd.</c:v>
                </c:pt>
                <c:pt idx="8">
                  <c:v>Plutzer Lebensmittelgroï¿½mï¿½rkte AG</c:v>
                </c:pt>
                <c:pt idx="9">
                  <c:v>Specialty Biscuits, Ltd.</c:v>
                </c:pt>
              </c:strCache>
            </c:strRef>
          </c:cat>
          <c:val>
            <c:numRef>
              <c:f>top10_suppliers_product_categor!$I$6:$I$16</c:f>
              <c:numCache>
                <c:formatCode>General</c:formatCode>
                <c:ptCount val="10"/>
                <c:pt idx="0">
                  <c:v>153691.27499999999</c:v>
                </c:pt>
                <c:pt idx="7">
                  <c:v>10672.65</c:v>
                </c:pt>
                <c:pt idx="8">
                  <c:v>8177.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50-48F1-BF5A-966353720CCE}"/>
            </c:ext>
          </c:extLst>
        </c:ser>
        <c:ser>
          <c:idx val="1"/>
          <c:order val="1"/>
          <c:tx>
            <c:strRef>
              <c:f>top10_suppliers_product_categor!$J$4:$J$5</c:f>
              <c:strCache>
                <c:ptCount val="1"/>
                <c:pt idx="0">
                  <c:v>Condiment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op10_suppliers_product_categor!$H$6:$H$16</c:f>
              <c:strCache>
                <c:ptCount val="10"/>
                <c:pt idx="0">
                  <c:v>Aux joyeux ecclï¿½siastiques</c:v>
                </c:pt>
                <c:pt idx="1">
                  <c:v>Forï¿½ts d'ï¿½rables</c:v>
                </c:pt>
                <c:pt idx="2">
                  <c:v>Formaggi Fortini s.r.l.</c:v>
                </c:pt>
                <c:pt idx="3">
                  <c:v>Gai pï¿½turage</c:v>
                </c:pt>
                <c:pt idx="4">
                  <c:v>G'day, Mate</c:v>
                </c:pt>
                <c:pt idx="5">
                  <c:v>Norske Meierier</c:v>
                </c:pt>
                <c:pt idx="6">
                  <c:v>Pasta Buttini s.r.l.</c:v>
                </c:pt>
                <c:pt idx="7">
                  <c:v>Pavlova, Ltd.</c:v>
                </c:pt>
                <c:pt idx="8">
                  <c:v>Plutzer Lebensmittelgroï¿½mï¿½rkte AG</c:v>
                </c:pt>
                <c:pt idx="9">
                  <c:v>Specialty Biscuits, Ltd.</c:v>
                </c:pt>
              </c:strCache>
            </c:strRef>
          </c:cat>
          <c:val>
            <c:numRef>
              <c:f>top10_suppliers_product_categor!$J$6:$J$16</c:f>
              <c:numCache>
                <c:formatCode>General</c:formatCode>
                <c:ptCount val="10"/>
                <c:pt idx="1">
                  <c:v>14352.6</c:v>
                </c:pt>
                <c:pt idx="7">
                  <c:v>16701.095000000001</c:v>
                </c:pt>
                <c:pt idx="8">
                  <c:v>9171.62999999999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50-48F1-BF5A-966353720CCE}"/>
            </c:ext>
          </c:extLst>
        </c:ser>
        <c:ser>
          <c:idx val="2"/>
          <c:order val="2"/>
          <c:tx>
            <c:strRef>
              <c:f>top10_suppliers_product_categor!$K$4:$K$5</c:f>
              <c:strCache>
                <c:ptCount val="1"/>
                <c:pt idx="0">
                  <c:v>Confection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op10_suppliers_product_categor!$H$6:$H$16</c:f>
              <c:strCache>
                <c:ptCount val="10"/>
                <c:pt idx="0">
                  <c:v>Aux joyeux ecclï¿½siastiques</c:v>
                </c:pt>
                <c:pt idx="1">
                  <c:v>Forï¿½ts d'ï¿½rables</c:v>
                </c:pt>
                <c:pt idx="2">
                  <c:v>Formaggi Fortini s.r.l.</c:v>
                </c:pt>
                <c:pt idx="3">
                  <c:v>Gai pï¿½turage</c:v>
                </c:pt>
                <c:pt idx="4">
                  <c:v>G'day, Mate</c:v>
                </c:pt>
                <c:pt idx="5">
                  <c:v>Norske Meierier</c:v>
                </c:pt>
                <c:pt idx="6">
                  <c:v>Pasta Buttini s.r.l.</c:v>
                </c:pt>
                <c:pt idx="7">
                  <c:v>Pavlova, Ltd.</c:v>
                </c:pt>
                <c:pt idx="8">
                  <c:v>Plutzer Lebensmittelgroï¿½mï¿½rkte AG</c:v>
                </c:pt>
                <c:pt idx="9">
                  <c:v>Specialty Biscuits, Ltd.</c:v>
                </c:pt>
              </c:strCache>
            </c:strRef>
          </c:cat>
          <c:val>
            <c:numRef>
              <c:f>top10_suppliers_product_categor!$K$6:$K$16</c:f>
              <c:numCache>
                <c:formatCode>General</c:formatCode>
                <c:ptCount val="10"/>
                <c:pt idx="1">
                  <c:v>47234.97</c:v>
                </c:pt>
                <c:pt idx="7">
                  <c:v>17215.7755</c:v>
                </c:pt>
                <c:pt idx="9">
                  <c:v>46243.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C50-48F1-BF5A-966353720CCE}"/>
            </c:ext>
          </c:extLst>
        </c:ser>
        <c:ser>
          <c:idx val="3"/>
          <c:order val="3"/>
          <c:tx>
            <c:strRef>
              <c:f>top10_suppliers_product_categor!$L$4:$L$5</c:f>
              <c:strCache>
                <c:ptCount val="1"/>
                <c:pt idx="0">
                  <c:v>Dairy Product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top10_suppliers_product_categor!$H$6:$H$16</c:f>
              <c:strCache>
                <c:ptCount val="10"/>
                <c:pt idx="0">
                  <c:v>Aux joyeux ecclï¿½siastiques</c:v>
                </c:pt>
                <c:pt idx="1">
                  <c:v>Forï¿½ts d'ï¿½rables</c:v>
                </c:pt>
                <c:pt idx="2">
                  <c:v>Formaggi Fortini s.r.l.</c:v>
                </c:pt>
                <c:pt idx="3">
                  <c:v>Gai pï¿½turage</c:v>
                </c:pt>
                <c:pt idx="4">
                  <c:v>G'day, Mate</c:v>
                </c:pt>
                <c:pt idx="5">
                  <c:v>Norske Meierier</c:v>
                </c:pt>
                <c:pt idx="6">
                  <c:v>Pasta Buttini s.r.l.</c:v>
                </c:pt>
                <c:pt idx="7">
                  <c:v>Pavlova, Ltd.</c:v>
                </c:pt>
                <c:pt idx="8">
                  <c:v>Plutzer Lebensmittelgroï¿½mï¿½rkte AG</c:v>
                </c:pt>
                <c:pt idx="9">
                  <c:v>Specialty Biscuits, Ltd.</c:v>
                </c:pt>
              </c:strCache>
            </c:strRef>
          </c:cat>
          <c:val>
            <c:numRef>
              <c:f>top10_suppliers_product_categor!$L$6:$L$16</c:f>
              <c:numCache>
                <c:formatCode>General</c:formatCode>
                <c:ptCount val="10"/>
                <c:pt idx="2">
                  <c:v>48225.165000000001</c:v>
                </c:pt>
                <c:pt idx="3">
                  <c:v>117981.18</c:v>
                </c:pt>
                <c:pt idx="5">
                  <c:v>43141.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C50-48F1-BF5A-966353720CCE}"/>
            </c:ext>
          </c:extLst>
        </c:ser>
        <c:ser>
          <c:idx val="4"/>
          <c:order val="4"/>
          <c:tx>
            <c:strRef>
              <c:f>top10_suppliers_product_categor!$M$4:$M$5</c:f>
              <c:strCache>
                <c:ptCount val="1"/>
                <c:pt idx="0">
                  <c:v>Grains/Cereals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top10_suppliers_product_categor!$H$6:$H$16</c:f>
              <c:strCache>
                <c:ptCount val="10"/>
                <c:pt idx="0">
                  <c:v>Aux joyeux ecclï¿½siastiques</c:v>
                </c:pt>
                <c:pt idx="1">
                  <c:v>Forï¿½ts d'ï¿½rables</c:v>
                </c:pt>
                <c:pt idx="2">
                  <c:v>Formaggi Fortini s.r.l.</c:v>
                </c:pt>
                <c:pt idx="3">
                  <c:v>Gai pï¿½turage</c:v>
                </c:pt>
                <c:pt idx="4">
                  <c:v>G'day, Mate</c:v>
                </c:pt>
                <c:pt idx="5">
                  <c:v>Norske Meierier</c:v>
                </c:pt>
                <c:pt idx="6">
                  <c:v>Pasta Buttini s.r.l.</c:v>
                </c:pt>
                <c:pt idx="7">
                  <c:v>Pavlova, Ltd.</c:v>
                </c:pt>
                <c:pt idx="8">
                  <c:v>Plutzer Lebensmittelgroï¿½mï¿½rkte AG</c:v>
                </c:pt>
                <c:pt idx="9">
                  <c:v>Specialty Biscuits, Ltd.</c:v>
                </c:pt>
              </c:strCache>
            </c:strRef>
          </c:cat>
          <c:val>
            <c:numRef>
              <c:f>top10_suppliers_product_categor!$M$6:$M$16</c:f>
              <c:numCache>
                <c:formatCode>General</c:formatCode>
                <c:ptCount val="10"/>
                <c:pt idx="4">
                  <c:v>3232.95</c:v>
                </c:pt>
                <c:pt idx="6">
                  <c:v>50254.61</c:v>
                </c:pt>
                <c:pt idx="8">
                  <c:v>21957.9674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C50-48F1-BF5A-966353720CCE}"/>
            </c:ext>
          </c:extLst>
        </c:ser>
        <c:ser>
          <c:idx val="5"/>
          <c:order val="5"/>
          <c:tx>
            <c:strRef>
              <c:f>top10_suppliers_product_categor!$N$4:$N$5</c:f>
              <c:strCache>
                <c:ptCount val="1"/>
                <c:pt idx="0">
                  <c:v>Meat/Poultry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top10_suppliers_product_categor!$H$6:$H$16</c:f>
              <c:strCache>
                <c:ptCount val="10"/>
                <c:pt idx="0">
                  <c:v>Aux joyeux ecclï¿½siastiques</c:v>
                </c:pt>
                <c:pt idx="1">
                  <c:v>Forï¿½ts d'ï¿½rables</c:v>
                </c:pt>
                <c:pt idx="2">
                  <c:v>Formaggi Fortini s.r.l.</c:v>
                </c:pt>
                <c:pt idx="3">
                  <c:v>Gai pï¿½turage</c:v>
                </c:pt>
                <c:pt idx="4">
                  <c:v>G'day, Mate</c:v>
                </c:pt>
                <c:pt idx="5">
                  <c:v>Norske Meierier</c:v>
                </c:pt>
                <c:pt idx="6">
                  <c:v>Pasta Buttini s.r.l.</c:v>
                </c:pt>
                <c:pt idx="7">
                  <c:v>Pavlova, Ltd.</c:v>
                </c:pt>
                <c:pt idx="8">
                  <c:v>Plutzer Lebensmittelgroï¿½mï¿½rkte AG</c:v>
                </c:pt>
                <c:pt idx="9">
                  <c:v>Specialty Biscuits, Ltd.</c:v>
                </c:pt>
              </c:strCache>
            </c:strRef>
          </c:cat>
          <c:val>
            <c:numRef>
              <c:f>top10_suppliers_product_categor!$N$6:$N$16</c:f>
              <c:numCache>
                <c:formatCode>General</c:formatCode>
                <c:ptCount val="10"/>
                <c:pt idx="4">
                  <c:v>20574.169999999998</c:v>
                </c:pt>
                <c:pt idx="7">
                  <c:v>32698.38</c:v>
                </c:pt>
                <c:pt idx="8">
                  <c:v>80368.672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C50-48F1-BF5A-966353720CCE}"/>
            </c:ext>
          </c:extLst>
        </c:ser>
        <c:ser>
          <c:idx val="6"/>
          <c:order val="6"/>
          <c:tx>
            <c:strRef>
              <c:f>top10_suppliers_product_categor!$O$4:$O$5</c:f>
              <c:strCache>
                <c:ptCount val="1"/>
                <c:pt idx="0">
                  <c:v>Produce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top10_suppliers_product_categor!$H$6:$H$16</c:f>
              <c:strCache>
                <c:ptCount val="10"/>
                <c:pt idx="0">
                  <c:v>Aux joyeux ecclï¿½siastiques</c:v>
                </c:pt>
                <c:pt idx="1">
                  <c:v>Forï¿½ts d'ï¿½rables</c:v>
                </c:pt>
                <c:pt idx="2">
                  <c:v>Formaggi Fortini s.r.l.</c:v>
                </c:pt>
                <c:pt idx="3">
                  <c:v>Gai pï¿½turage</c:v>
                </c:pt>
                <c:pt idx="4">
                  <c:v>G'day, Mate</c:v>
                </c:pt>
                <c:pt idx="5">
                  <c:v>Norske Meierier</c:v>
                </c:pt>
                <c:pt idx="6">
                  <c:v>Pasta Buttini s.r.l.</c:v>
                </c:pt>
                <c:pt idx="7">
                  <c:v>Pavlova, Ltd.</c:v>
                </c:pt>
                <c:pt idx="8">
                  <c:v>Plutzer Lebensmittelgroï¿½mï¿½rkte AG</c:v>
                </c:pt>
                <c:pt idx="9">
                  <c:v>Specialty Biscuits, Ltd.</c:v>
                </c:pt>
              </c:strCache>
            </c:strRef>
          </c:cat>
          <c:val>
            <c:numRef>
              <c:f>top10_suppliers_product_categor!$O$6:$O$16</c:f>
              <c:numCache>
                <c:formatCode>General</c:formatCode>
                <c:ptCount val="10"/>
                <c:pt idx="4">
                  <c:v>41819.65</c:v>
                </c:pt>
                <c:pt idx="8">
                  <c:v>25696.63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C50-48F1-BF5A-966353720CCE}"/>
            </c:ext>
          </c:extLst>
        </c:ser>
        <c:ser>
          <c:idx val="7"/>
          <c:order val="7"/>
          <c:tx>
            <c:strRef>
              <c:f>top10_suppliers_product_categor!$P$4:$P$5</c:f>
              <c:strCache>
                <c:ptCount val="1"/>
                <c:pt idx="0">
                  <c:v>Seafood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top10_suppliers_product_categor!$H$6:$H$16</c:f>
              <c:strCache>
                <c:ptCount val="10"/>
                <c:pt idx="0">
                  <c:v>Aux joyeux ecclï¿½siastiques</c:v>
                </c:pt>
                <c:pt idx="1">
                  <c:v>Forï¿½ts d'ï¿½rables</c:v>
                </c:pt>
                <c:pt idx="2">
                  <c:v>Formaggi Fortini s.r.l.</c:v>
                </c:pt>
                <c:pt idx="3">
                  <c:v>Gai pï¿½turage</c:v>
                </c:pt>
                <c:pt idx="4">
                  <c:v>G'day, Mate</c:v>
                </c:pt>
                <c:pt idx="5">
                  <c:v>Norske Meierier</c:v>
                </c:pt>
                <c:pt idx="6">
                  <c:v>Pasta Buttini s.r.l.</c:v>
                </c:pt>
                <c:pt idx="7">
                  <c:v>Pavlova, Ltd.</c:v>
                </c:pt>
                <c:pt idx="8">
                  <c:v>Plutzer Lebensmittelgroï¿½mï¿½rkte AG</c:v>
                </c:pt>
                <c:pt idx="9">
                  <c:v>Specialty Biscuits, Ltd.</c:v>
                </c:pt>
              </c:strCache>
            </c:strRef>
          </c:cat>
          <c:val>
            <c:numRef>
              <c:f>top10_suppliers_product_categor!$P$6:$P$16</c:f>
              <c:numCache>
                <c:formatCode>General</c:formatCode>
                <c:ptCount val="10"/>
                <c:pt idx="7">
                  <c:v>29171.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C50-48F1-BF5A-966353720C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696215680"/>
        <c:axId val="696216008"/>
      </c:barChart>
      <c:catAx>
        <c:axId val="696215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96216008"/>
        <c:crosses val="autoZero"/>
        <c:auto val="1"/>
        <c:lblAlgn val="ctr"/>
        <c:lblOffset val="100"/>
        <c:noMultiLvlLbl val="0"/>
      </c:catAx>
      <c:valAx>
        <c:axId val="6962160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962156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xported_data.xlsx]products_sales!PivotTable32</c:name>
    <c:fmtId val="4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smtClean="0"/>
              <a:t>Product Category Quarterly Sales Trend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</c:pivotFmts>
    <c:plotArea>
      <c:layout/>
      <c:lineChart>
        <c:grouping val="standard"/>
        <c:varyColors val="0"/>
        <c:ser>
          <c:idx val="0"/>
          <c:order val="0"/>
          <c:tx>
            <c:strRef>
              <c:f>products_sales!$H$7:$H$8</c:f>
              <c:strCache>
                <c:ptCount val="1"/>
                <c:pt idx="0">
                  <c:v>Beverage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multiLvlStrRef>
              <c:f>products_sales!$G$9:$G$20</c:f>
              <c:multiLvlStrCache>
                <c:ptCount val="8"/>
                <c:lvl>
                  <c:pt idx="0">
                    <c:v>Qtr3</c:v>
                  </c:pt>
                  <c:pt idx="1">
                    <c:v>Qtr4</c:v>
                  </c:pt>
                  <c:pt idx="2">
                    <c:v>Qtr1</c:v>
                  </c:pt>
                  <c:pt idx="3">
                    <c:v>Qtr2</c:v>
                  </c:pt>
                  <c:pt idx="4">
                    <c:v>Qtr3</c:v>
                  </c:pt>
                  <c:pt idx="5">
                    <c:v>Qtr4</c:v>
                  </c:pt>
                  <c:pt idx="6">
                    <c:v>Qtr1</c:v>
                  </c:pt>
                  <c:pt idx="7">
                    <c:v>Qtr2</c:v>
                  </c:pt>
                </c:lvl>
                <c:lvl>
                  <c:pt idx="0">
                    <c:v>2014</c:v>
                  </c:pt>
                  <c:pt idx="2">
                    <c:v>2015</c:v>
                  </c:pt>
                  <c:pt idx="6">
                    <c:v>2016</c:v>
                  </c:pt>
                </c:lvl>
              </c:multiLvlStrCache>
            </c:multiLvlStrRef>
          </c:cat>
          <c:val>
            <c:numRef>
              <c:f>products_sales!$H$9:$H$20</c:f>
              <c:numCache>
                <c:formatCode>General</c:formatCode>
                <c:ptCount val="8"/>
                <c:pt idx="0">
                  <c:v>13137.779999999999</c:v>
                </c:pt>
                <c:pt idx="1">
                  <c:v>34781.22</c:v>
                </c:pt>
                <c:pt idx="2">
                  <c:v>35386.879999999997</c:v>
                </c:pt>
                <c:pt idx="3">
                  <c:v>25982.024999999998</c:v>
                </c:pt>
                <c:pt idx="4">
                  <c:v>19452.850000000002</c:v>
                </c:pt>
                <c:pt idx="5">
                  <c:v>23102.55</c:v>
                </c:pt>
                <c:pt idx="6">
                  <c:v>89606.125</c:v>
                </c:pt>
                <c:pt idx="7">
                  <c:v>26418.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6FF-43DF-BA2A-556EB5C188F9}"/>
            </c:ext>
          </c:extLst>
        </c:ser>
        <c:ser>
          <c:idx val="1"/>
          <c:order val="1"/>
          <c:tx>
            <c:strRef>
              <c:f>products_sales!$I$7:$I$8</c:f>
              <c:strCache>
                <c:ptCount val="1"/>
                <c:pt idx="0">
                  <c:v>Condiment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multiLvlStrRef>
              <c:f>products_sales!$G$9:$G$20</c:f>
              <c:multiLvlStrCache>
                <c:ptCount val="8"/>
                <c:lvl>
                  <c:pt idx="0">
                    <c:v>Qtr3</c:v>
                  </c:pt>
                  <c:pt idx="1">
                    <c:v>Qtr4</c:v>
                  </c:pt>
                  <c:pt idx="2">
                    <c:v>Qtr1</c:v>
                  </c:pt>
                  <c:pt idx="3">
                    <c:v>Qtr2</c:v>
                  </c:pt>
                  <c:pt idx="4">
                    <c:v>Qtr3</c:v>
                  </c:pt>
                  <c:pt idx="5">
                    <c:v>Qtr4</c:v>
                  </c:pt>
                  <c:pt idx="6">
                    <c:v>Qtr1</c:v>
                  </c:pt>
                  <c:pt idx="7">
                    <c:v>Qtr2</c:v>
                  </c:pt>
                </c:lvl>
                <c:lvl>
                  <c:pt idx="0">
                    <c:v>2014</c:v>
                  </c:pt>
                  <c:pt idx="2">
                    <c:v>2015</c:v>
                  </c:pt>
                  <c:pt idx="6">
                    <c:v>2016</c:v>
                  </c:pt>
                </c:lvl>
              </c:multiLvlStrCache>
            </c:multiLvlStrRef>
          </c:cat>
          <c:val>
            <c:numRef>
              <c:f>products_sales!$I$9:$I$20</c:f>
              <c:numCache>
                <c:formatCode>General</c:formatCode>
                <c:ptCount val="8"/>
                <c:pt idx="0">
                  <c:v>5988.4</c:v>
                </c:pt>
                <c:pt idx="1">
                  <c:v>11911.985000000001</c:v>
                </c:pt>
                <c:pt idx="2">
                  <c:v>13026.07</c:v>
                </c:pt>
                <c:pt idx="3">
                  <c:v>12852.695</c:v>
                </c:pt>
                <c:pt idx="4">
                  <c:v>13315.0375</c:v>
                </c:pt>
                <c:pt idx="5">
                  <c:v>16174.787500000002</c:v>
                </c:pt>
                <c:pt idx="6">
                  <c:v>21805.135000000002</c:v>
                </c:pt>
                <c:pt idx="7">
                  <c:v>10972.9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6FF-43DF-BA2A-556EB5C188F9}"/>
            </c:ext>
          </c:extLst>
        </c:ser>
        <c:ser>
          <c:idx val="2"/>
          <c:order val="2"/>
          <c:tx>
            <c:strRef>
              <c:f>products_sales!$J$7:$J$8</c:f>
              <c:strCache>
                <c:ptCount val="1"/>
                <c:pt idx="0">
                  <c:v>Confections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multiLvlStrRef>
              <c:f>products_sales!$G$9:$G$20</c:f>
              <c:multiLvlStrCache>
                <c:ptCount val="8"/>
                <c:lvl>
                  <c:pt idx="0">
                    <c:v>Qtr3</c:v>
                  </c:pt>
                  <c:pt idx="1">
                    <c:v>Qtr4</c:v>
                  </c:pt>
                  <c:pt idx="2">
                    <c:v>Qtr1</c:v>
                  </c:pt>
                  <c:pt idx="3">
                    <c:v>Qtr2</c:v>
                  </c:pt>
                  <c:pt idx="4">
                    <c:v>Qtr3</c:v>
                  </c:pt>
                  <c:pt idx="5">
                    <c:v>Qtr4</c:v>
                  </c:pt>
                  <c:pt idx="6">
                    <c:v>Qtr1</c:v>
                  </c:pt>
                  <c:pt idx="7">
                    <c:v>Qtr2</c:v>
                  </c:pt>
                </c:lvl>
                <c:lvl>
                  <c:pt idx="0">
                    <c:v>2014</c:v>
                  </c:pt>
                  <c:pt idx="2">
                    <c:v>2015</c:v>
                  </c:pt>
                  <c:pt idx="6">
                    <c:v>2016</c:v>
                  </c:pt>
                </c:lvl>
              </c:multiLvlStrCache>
            </c:multiLvlStrRef>
          </c:cat>
          <c:val>
            <c:numRef>
              <c:f>products_sales!$J$9:$J$20</c:f>
              <c:numCache>
                <c:formatCode>General</c:formatCode>
                <c:ptCount val="8"/>
                <c:pt idx="0">
                  <c:v>17118.924999999999</c:v>
                </c:pt>
                <c:pt idx="1">
                  <c:v>12566.625</c:v>
                </c:pt>
                <c:pt idx="2">
                  <c:v>19316.915000000001</c:v>
                </c:pt>
                <c:pt idx="3">
                  <c:v>21403.322500000002</c:v>
                </c:pt>
                <c:pt idx="4">
                  <c:v>20276.817500000001</c:v>
                </c:pt>
                <c:pt idx="5">
                  <c:v>21660.695500000002</c:v>
                </c:pt>
                <c:pt idx="6">
                  <c:v>43785.796499999997</c:v>
                </c:pt>
                <c:pt idx="7">
                  <c:v>11228.128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6FF-43DF-BA2A-556EB5C188F9}"/>
            </c:ext>
          </c:extLst>
        </c:ser>
        <c:ser>
          <c:idx val="3"/>
          <c:order val="3"/>
          <c:tx>
            <c:strRef>
              <c:f>products_sales!$K$7:$K$8</c:f>
              <c:strCache>
                <c:ptCount val="1"/>
                <c:pt idx="0">
                  <c:v>Dairy Products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multiLvlStrRef>
              <c:f>products_sales!$G$9:$G$20</c:f>
              <c:multiLvlStrCache>
                <c:ptCount val="8"/>
                <c:lvl>
                  <c:pt idx="0">
                    <c:v>Qtr3</c:v>
                  </c:pt>
                  <c:pt idx="1">
                    <c:v>Qtr4</c:v>
                  </c:pt>
                  <c:pt idx="2">
                    <c:v>Qtr1</c:v>
                  </c:pt>
                  <c:pt idx="3">
                    <c:v>Qtr2</c:v>
                  </c:pt>
                  <c:pt idx="4">
                    <c:v>Qtr3</c:v>
                  </c:pt>
                  <c:pt idx="5">
                    <c:v>Qtr4</c:v>
                  </c:pt>
                  <c:pt idx="6">
                    <c:v>Qtr1</c:v>
                  </c:pt>
                  <c:pt idx="7">
                    <c:v>Qtr2</c:v>
                  </c:pt>
                </c:lvl>
                <c:lvl>
                  <c:pt idx="0">
                    <c:v>2014</c:v>
                  </c:pt>
                  <c:pt idx="2">
                    <c:v>2015</c:v>
                  </c:pt>
                  <c:pt idx="6">
                    <c:v>2016</c:v>
                  </c:pt>
                </c:lvl>
              </c:multiLvlStrCache>
            </c:multiLvlStrRef>
          </c:cat>
          <c:val>
            <c:numRef>
              <c:f>products_sales!$K$9:$K$20</c:f>
              <c:numCache>
                <c:formatCode>General</c:formatCode>
                <c:ptCount val="8"/>
                <c:pt idx="0">
                  <c:v>15457.640000000001</c:v>
                </c:pt>
                <c:pt idx="1">
                  <c:v>25522.81</c:v>
                </c:pt>
                <c:pt idx="2">
                  <c:v>24380.14</c:v>
                </c:pt>
                <c:pt idx="3">
                  <c:v>24666.974999999999</c:v>
                </c:pt>
                <c:pt idx="4">
                  <c:v>30634.2</c:v>
                </c:pt>
                <c:pt idx="5">
                  <c:v>35706.324999999997</c:v>
                </c:pt>
                <c:pt idx="6">
                  <c:v>42831.175000000003</c:v>
                </c:pt>
                <c:pt idx="7">
                  <c:v>35308.020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6FF-43DF-BA2A-556EB5C188F9}"/>
            </c:ext>
          </c:extLst>
        </c:ser>
        <c:ser>
          <c:idx val="4"/>
          <c:order val="4"/>
          <c:tx>
            <c:strRef>
              <c:f>products_sales!$L$7:$L$8</c:f>
              <c:strCache>
                <c:ptCount val="1"/>
                <c:pt idx="0">
                  <c:v>Grains/Cereals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multiLvlStrRef>
              <c:f>products_sales!$G$9:$G$20</c:f>
              <c:multiLvlStrCache>
                <c:ptCount val="8"/>
                <c:lvl>
                  <c:pt idx="0">
                    <c:v>Qtr3</c:v>
                  </c:pt>
                  <c:pt idx="1">
                    <c:v>Qtr4</c:v>
                  </c:pt>
                  <c:pt idx="2">
                    <c:v>Qtr1</c:v>
                  </c:pt>
                  <c:pt idx="3">
                    <c:v>Qtr2</c:v>
                  </c:pt>
                  <c:pt idx="4">
                    <c:v>Qtr3</c:v>
                  </c:pt>
                  <c:pt idx="5">
                    <c:v>Qtr4</c:v>
                  </c:pt>
                  <c:pt idx="6">
                    <c:v>Qtr1</c:v>
                  </c:pt>
                  <c:pt idx="7">
                    <c:v>Qtr2</c:v>
                  </c:pt>
                </c:lvl>
                <c:lvl>
                  <c:pt idx="0">
                    <c:v>2014</c:v>
                  </c:pt>
                  <c:pt idx="2">
                    <c:v>2015</c:v>
                  </c:pt>
                  <c:pt idx="6">
                    <c:v>2016</c:v>
                  </c:pt>
                </c:lvl>
              </c:multiLvlStrCache>
            </c:multiLvlStrRef>
          </c:cat>
          <c:val>
            <c:numRef>
              <c:f>products_sales!$L$9:$L$20</c:f>
              <c:numCache>
                <c:formatCode>General</c:formatCode>
                <c:ptCount val="8"/>
                <c:pt idx="0">
                  <c:v>2346.66</c:v>
                </c:pt>
                <c:pt idx="1">
                  <c:v>7161.26</c:v>
                </c:pt>
                <c:pt idx="2">
                  <c:v>12409.1</c:v>
                </c:pt>
                <c:pt idx="3">
                  <c:v>15157.5</c:v>
                </c:pt>
                <c:pt idx="4">
                  <c:v>15244.525</c:v>
                </c:pt>
                <c:pt idx="5">
                  <c:v>14060.7</c:v>
                </c:pt>
                <c:pt idx="6">
                  <c:v>19408.237500000003</c:v>
                </c:pt>
                <c:pt idx="7">
                  <c:v>9956.604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6FF-43DF-BA2A-556EB5C188F9}"/>
            </c:ext>
          </c:extLst>
        </c:ser>
        <c:ser>
          <c:idx val="5"/>
          <c:order val="5"/>
          <c:tx>
            <c:strRef>
              <c:f>products_sales!$M$7:$M$8</c:f>
              <c:strCache>
                <c:ptCount val="1"/>
                <c:pt idx="0">
                  <c:v>Meat/Poultry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multiLvlStrRef>
              <c:f>products_sales!$G$9:$G$20</c:f>
              <c:multiLvlStrCache>
                <c:ptCount val="8"/>
                <c:lvl>
                  <c:pt idx="0">
                    <c:v>Qtr3</c:v>
                  </c:pt>
                  <c:pt idx="1">
                    <c:v>Qtr4</c:v>
                  </c:pt>
                  <c:pt idx="2">
                    <c:v>Qtr1</c:v>
                  </c:pt>
                  <c:pt idx="3">
                    <c:v>Qtr2</c:v>
                  </c:pt>
                  <c:pt idx="4">
                    <c:v>Qtr3</c:v>
                  </c:pt>
                  <c:pt idx="5">
                    <c:v>Qtr4</c:v>
                  </c:pt>
                  <c:pt idx="6">
                    <c:v>Qtr1</c:v>
                  </c:pt>
                  <c:pt idx="7">
                    <c:v>Qtr2</c:v>
                  </c:pt>
                </c:lvl>
                <c:lvl>
                  <c:pt idx="0">
                    <c:v>2014</c:v>
                  </c:pt>
                  <c:pt idx="2">
                    <c:v>2015</c:v>
                  </c:pt>
                  <c:pt idx="6">
                    <c:v>2016</c:v>
                  </c:pt>
                </c:lvl>
              </c:multiLvlStrCache>
            </c:multiLvlStrRef>
          </c:cat>
          <c:val>
            <c:numRef>
              <c:f>products_sales!$M$9:$M$20</c:f>
              <c:numCache>
                <c:formatCode>General</c:formatCode>
                <c:ptCount val="8"/>
                <c:pt idx="0">
                  <c:v>10448.379999999999</c:v>
                </c:pt>
                <c:pt idx="1">
                  <c:v>18365.28</c:v>
                </c:pt>
                <c:pt idx="2">
                  <c:v>17402.350000000002</c:v>
                </c:pt>
                <c:pt idx="3">
                  <c:v>14932.45</c:v>
                </c:pt>
                <c:pt idx="4">
                  <c:v>20640.510000000002</c:v>
                </c:pt>
                <c:pt idx="5">
                  <c:v>27999.798000000003</c:v>
                </c:pt>
                <c:pt idx="6">
                  <c:v>30929.181499999999</c:v>
                </c:pt>
                <c:pt idx="7">
                  <c:v>22304.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6FF-43DF-BA2A-556EB5C188F9}"/>
            </c:ext>
          </c:extLst>
        </c:ser>
        <c:ser>
          <c:idx val="6"/>
          <c:order val="6"/>
          <c:tx>
            <c:strRef>
              <c:f>products_sales!$N$7:$N$8</c:f>
              <c:strCache>
                <c:ptCount val="1"/>
                <c:pt idx="0">
                  <c:v>Produce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multiLvlStrRef>
              <c:f>products_sales!$G$9:$G$20</c:f>
              <c:multiLvlStrCache>
                <c:ptCount val="8"/>
                <c:lvl>
                  <c:pt idx="0">
                    <c:v>Qtr3</c:v>
                  </c:pt>
                  <c:pt idx="1">
                    <c:v>Qtr4</c:v>
                  </c:pt>
                  <c:pt idx="2">
                    <c:v>Qtr1</c:v>
                  </c:pt>
                  <c:pt idx="3">
                    <c:v>Qtr2</c:v>
                  </c:pt>
                  <c:pt idx="4">
                    <c:v>Qtr3</c:v>
                  </c:pt>
                  <c:pt idx="5">
                    <c:v>Qtr4</c:v>
                  </c:pt>
                  <c:pt idx="6">
                    <c:v>Qtr1</c:v>
                  </c:pt>
                  <c:pt idx="7">
                    <c:v>Qtr2</c:v>
                  </c:pt>
                </c:lvl>
                <c:lvl>
                  <c:pt idx="0">
                    <c:v>2014</c:v>
                  </c:pt>
                  <c:pt idx="2">
                    <c:v>2015</c:v>
                  </c:pt>
                  <c:pt idx="6">
                    <c:v>2016</c:v>
                  </c:pt>
                </c:lvl>
              </c:multiLvlStrCache>
            </c:multiLvlStrRef>
          </c:cat>
          <c:val>
            <c:numRef>
              <c:f>products_sales!$N$9:$N$20</c:f>
              <c:numCache>
                <c:formatCode>General</c:formatCode>
                <c:ptCount val="8"/>
                <c:pt idx="0">
                  <c:v>5837.92</c:v>
                </c:pt>
                <c:pt idx="1">
                  <c:v>8047.8600000000006</c:v>
                </c:pt>
                <c:pt idx="2">
                  <c:v>9061.32</c:v>
                </c:pt>
                <c:pt idx="3">
                  <c:v>14817.16</c:v>
                </c:pt>
                <c:pt idx="4">
                  <c:v>8761.2749999999996</c:v>
                </c:pt>
                <c:pt idx="5">
                  <c:v>22301.012499999997</c:v>
                </c:pt>
                <c:pt idx="6">
                  <c:v>15730</c:v>
                </c:pt>
                <c:pt idx="7">
                  <c:v>15428.0324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96FF-43DF-BA2A-556EB5C188F9}"/>
            </c:ext>
          </c:extLst>
        </c:ser>
        <c:ser>
          <c:idx val="7"/>
          <c:order val="7"/>
          <c:tx>
            <c:strRef>
              <c:f>products_sales!$O$7:$O$8</c:f>
              <c:strCache>
                <c:ptCount val="1"/>
                <c:pt idx="0">
                  <c:v>Seafood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multiLvlStrRef>
              <c:f>products_sales!$G$9:$G$20</c:f>
              <c:multiLvlStrCache>
                <c:ptCount val="8"/>
                <c:lvl>
                  <c:pt idx="0">
                    <c:v>Qtr3</c:v>
                  </c:pt>
                  <c:pt idx="1">
                    <c:v>Qtr4</c:v>
                  </c:pt>
                  <c:pt idx="2">
                    <c:v>Qtr1</c:v>
                  </c:pt>
                  <c:pt idx="3">
                    <c:v>Qtr2</c:v>
                  </c:pt>
                  <c:pt idx="4">
                    <c:v>Qtr3</c:v>
                  </c:pt>
                  <c:pt idx="5">
                    <c:v>Qtr4</c:v>
                  </c:pt>
                  <c:pt idx="6">
                    <c:v>Qtr1</c:v>
                  </c:pt>
                  <c:pt idx="7">
                    <c:v>Qtr2</c:v>
                  </c:pt>
                </c:lvl>
                <c:lvl>
                  <c:pt idx="0">
                    <c:v>2014</c:v>
                  </c:pt>
                  <c:pt idx="2">
                    <c:v>2015</c:v>
                  </c:pt>
                  <c:pt idx="6">
                    <c:v>2016</c:v>
                  </c:pt>
                </c:lvl>
              </c:multiLvlStrCache>
            </c:multiLvlStrRef>
          </c:cat>
          <c:val>
            <c:numRef>
              <c:f>products_sales!$O$9:$O$20</c:f>
              <c:numCache>
                <c:formatCode>General</c:formatCode>
                <c:ptCount val="8"/>
                <c:pt idx="0">
                  <c:v>9392.8649999999998</c:v>
                </c:pt>
                <c:pt idx="1">
                  <c:v>9998.36</c:v>
                </c:pt>
                <c:pt idx="2">
                  <c:v>7306.15</c:v>
                </c:pt>
                <c:pt idx="3">
                  <c:v>13364.9175</c:v>
                </c:pt>
                <c:pt idx="4">
                  <c:v>25612.555</c:v>
                </c:pt>
                <c:pt idx="5">
                  <c:v>20675.595000000001</c:v>
                </c:pt>
                <c:pt idx="6">
                  <c:v>34395.902499999997</c:v>
                </c:pt>
                <c:pt idx="7">
                  <c:v>10515.39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96FF-43DF-BA2A-556EB5C188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01229744"/>
        <c:axId val="701230072"/>
      </c:lineChart>
      <c:catAx>
        <c:axId val="701229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01230072"/>
        <c:crosses val="autoZero"/>
        <c:auto val="1"/>
        <c:lblAlgn val="ctr"/>
        <c:lblOffset val="100"/>
        <c:noMultiLvlLbl val="0"/>
      </c:catAx>
      <c:valAx>
        <c:axId val="7012300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01229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 smtClean="0"/>
              <a:t>Product Categories from Best Sales Employee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products_from_best_employee!$B$1</c:f>
              <c:strCache>
                <c:ptCount val="1"/>
                <c:pt idx="0">
                  <c:v>ProductNum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246-4FB8-A005-2C54F5AB8F1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246-4FB8-A005-2C54F5AB8F1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246-4FB8-A005-2C54F5AB8F1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246-4FB8-A005-2C54F5AB8F19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246-4FB8-A005-2C54F5AB8F19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9246-4FB8-A005-2C54F5AB8F19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9246-4FB8-A005-2C54F5AB8F19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9246-4FB8-A005-2C54F5AB8F19}"/>
              </c:ext>
            </c:extLst>
          </c:dPt>
          <c:dLbls>
            <c:spPr>
              <a:solidFill>
                <a:srgbClr val="FFFFFF"/>
              </a:solidFill>
              <a:ln>
                <a:solidFill>
                  <a:srgbClr val="000000">
                    <a:lumMod val="25000"/>
                    <a:lumOff val="75000"/>
                  </a:srgb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layout/>
              </c:ext>
            </c:extLst>
          </c:dLbls>
          <c:cat>
            <c:strRef>
              <c:f>products_from_best_employee!$A$2:$A$9</c:f>
              <c:strCache>
                <c:ptCount val="8"/>
                <c:pt idx="0">
                  <c:v>Beverages</c:v>
                </c:pt>
                <c:pt idx="1">
                  <c:v>Confections</c:v>
                </c:pt>
                <c:pt idx="2">
                  <c:v>Seafood</c:v>
                </c:pt>
                <c:pt idx="3">
                  <c:v>Dairy Products</c:v>
                </c:pt>
                <c:pt idx="4">
                  <c:v>Grains/Cereals</c:v>
                </c:pt>
                <c:pt idx="5">
                  <c:v>Condiments</c:v>
                </c:pt>
                <c:pt idx="6">
                  <c:v>Meat/Poultry</c:v>
                </c:pt>
                <c:pt idx="7">
                  <c:v>Produce</c:v>
                </c:pt>
              </c:strCache>
            </c:strRef>
          </c:cat>
          <c:val>
            <c:numRef>
              <c:f>products_from_best_employee!$B$2:$B$9</c:f>
              <c:numCache>
                <c:formatCode>General</c:formatCode>
                <c:ptCount val="8"/>
                <c:pt idx="0">
                  <c:v>75</c:v>
                </c:pt>
                <c:pt idx="1">
                  <c:v>71</c:v>
                </c:pt>
                <c:pt idx="2">
                  <c:v>69</c:v>
                </c:pt>
                <c:pt idx="3">
                  <c:v>54</c:v>
                </c:pt>
                <c:pt idx="4">
                  <c:v>46</c:v>
                </c:pt>
                <c:pt idx="5">
                  <c:v>45</c:v>
                </c:pt>
                <c:pt idx="6">
                  <c:v>35</c:v>
                </c:pt>
                <c:pt idx="7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9246-4FB8-A005-2C54F5AB8F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8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8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plotArea>
  <cs:plotArea3D>
    <cs:lnRef idx="0"/>
    <cs:fillRef idx="0"/>
    <cs:effectRef idx="0"/>
    <cs:fontRef idx="minor">
      <a:schemeClr val="dk1"/>
    </cs:fontRef>
    <cs:spPr>
      <a:solidFill>
        <a:schemeClr val="lt1"/>
      </a:solidFill>
    </cs:spPr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1600" b="1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 sz="1100"/>
            </a:lvl1pPr>
            <a:lvl2pPr lvl="1">
              <a:spcBef>
                <a:spcPts val="0"/>
              </a:spcBef>
              <a:defRPr sz="1100"/>
            </a:lvl2pPr>
            <a:lvl3pPr lvl="2">
              <a:spcBef>
                <a:spcPts val="0"/>
              </a:spcBef>
              <a:defRPr sz="1100"/>
            </a:lvl3pPr>
            <a:lvl4pPr lvl="3">
              <a:spcBef>
                <a:spcPts val="0"/>
              </a:spcBef>
              <a:defRPr sz="1100"/>
            </a:lvl4pPr>
            <a:lvl5pPr lvl="4">
              <a:spcBef>
                <a:spcPts val="0"/>
              </a:spcBef>
              <a:defRPr sz="1100"/>
            </a:lvl5pPr>
            <a:lvl6pPr lvl="5">
              <a:spcBef>
                <a:spcPts val="0"/>
              </a:spcBef>
              <a:defRPr sz="1100"/>
            </a:lvl6pPr>
            <a:lvl7pPr lvl="6">
              <a:spcBef>
                <a:spcPts val="0"/>
              </a:spcBef>
              <a:defRPr sz="1100"/>
            </a:lvl7pPr>
            <a:lvl8pPr lvl="7">
              <a:spcBef>
                <a:spcPts val="0"/>
              </a:spcBef>
              <a:defRPr sz="1100"/>
            </a:lvl8pPr>
            <a:lvl9pPr lvl="8">
              <a:spcBef>
                <a:spcPts val="0"/>
              </a:spcBef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" name="Shape 5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Aft>
                <a:spcPts val="0"/>
              </a:spcAft>
            </a:pPr>
            <a:r>
              <a:rPr lang="en-US" sz="1100" dirty="0" smtClean="0">
                <a:latin typeface="Open Sans"/>
                <a:ea typeface="Open Sans"/>
                <a:cs typeface="Open Sans"/>
                <a:sym typeface="Open Sans"/>
              </a:rPr>
              <a:t>SELECT Country, COUNT(*) AS Amount</a:t>
            </a:r>
          </a:p>
          <a:p>
            <a:pPr lvl="0">
              <a:spcAft>
                <a:spcPts val="0"/>
              </a:spcAft>
            </a:pPr>
            <a:r>
              <a:rPr lang="en-US" sz="1100" dirty="0" smtClean="0">
                <a:latin typeface="Open Sans"/>
                <a:ea typeface="Open Sans"/>
                <a:cs typeface="Open Sans"/>
                <a:sym typeface="Open Sans"/>
              </a:rPr>
              <a:t>  FROM Customers</a:t>
            </a:r>
          </a:p>
          <a:p>
            <a:pPr lvl="0">
              <a:spcAft>
                <a:spcPts val="0"/>
              </a:spcAft>
            </a:pPr>
            <a:r>
              <a:rPr lang="en-US" sz="1100" dirty="0" smtClean="0">
                <a:latin typeface="Open Sans"/>
                <a:ea typeface="Open Sans"/>
                <a:cs typeface="Open Sans"/>
                <a:sym typeface="Open Sans"/>
              </a:rPr>
              <a:t>  GROUP BY 1</a:t>
            </a:r>
          </a:p>
          <a:p>
            <a:pPr lvl="0">
              <a:spcAft>
                <a:spcPts val="0"/>
              </a:spcAft>
            </a:pPr>
            <a:r>
              <a:rPr lang="en-US" sz="1100" dirty="0" smtClean="0">
                <a:latin typeface="Open Sans"/>
                <a:ea typeface="Open Sans"/>
                <a:cs typeface="Open Sans"/>
                <a:sym typeface="Open Sans"/>
              </a:rPr>
              <a:t>  ORDER BY 2 DESC;</a:t>
            </a:r>
            <a:endParaRPr lang="en" sz="1100" dirty="0"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" name="Shape 5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WITH </a:t>
            </a:r>
            <a:r>
              <a:rPr lang="en-US" dirty="0" err="1" smtClean="0"/>
              <a:t>TopCustomers</a:t>
            </a:r>
            <a:r>
              <a:rPr lang="en-US" dirty="0" smtClean="0"/>
              <a:t> AS (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SELECT </a:t>
            </a:r>
            <a:r>
              <a:rPr lang="en-US" dirty="0" err="1" smtClean="0"/>
              <a:t>CustomerID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FROM (SELECT </a:t>
            </a:r>
            <a:r>
              <a:rPr lang="en-US" dirty="0" err="1" smtClean="0"/>
              <a:t>c.CustomerID</a:t>
            </a:r>
            <a:r>
              <a:rPr lang="en-US" dirty="0" smtClean="0"/>
              <a:t>, SUM(</a:t>
            </a:r>
            <a:r>
              <a:rPr lang="en-US" dirty="0" err="1" smtClean="0"/>
              <a:t>d.UnitPrice</a:t>
            </a:r>
            <a:r>
              <a:rPr lang="en-US" dirty="0" smtClean="0"/>
              <a:t> * </a:t>
            </a:r>
            <a:r>
              <a:rPr lang="en-US" dirty="0" err="1" smtClean="0"/>
              <a:t>d.Quantity</a:t>
            </a:r>
            <a:r>
              <a:rPr lang="en-US" dirty="0" smtClean="0"/>
              <a:t> * (1 - </a:t>
            </a:r>
            <a:r>
              <a:rPr lang="en-US" dirty="0" err="1" smtClean="0"/>
              <a:t>d.Discount</a:t>
            </a:r>
            <a:r>
              <a:rPr lang="en-US" dirty="0" smtClean="0"/>
              <a:t>)) AS TOTAL_COST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		FROM Customers c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		JOIN Orders o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		ON </a:t>
            </a:r>
            <a:r>
              <a:rPr lang="en-US" dirty="0" err="1" smtClean="0"/>
              <a:t>c.CustomerID</a:t>
            </a:r>
            <a:r>
              <a:rPr lang="en-US" dirty="0" smtClean="0"/>
              <a:t> = </a:t>
            </a:r>
            <a:r>
              <a:rPr lang="en-US" dirty="0" err="1" smtClean="0"/>
              <a:t>o.CustomerID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		JOIN </a:t>
            </a:r>
            <a:r>
              <a:rPr lang="en-US" dirty="0" err="1" smtClean="0"/>
              <a:t>OrderDetails</a:t>
            </a:r>
            <a:r>
              <a:rPr lang="en-US" dirty="0" smtClean="0"/>
              <a:t> d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		ON </a:t>
            </a:r>
            <a:r>
              <a:rPr lang="en-US" dirty="0" err="1" smtClean="0"/>
              <a:t>o.OrderId</a:t>
            </a:r>
            <a:r>
              <a:rPr lang="en-US" dirty="0" smtClean="0"/>
              <a:t> = </a:t>
            </a:r>
            <a:r>
              <a:rPr lang="en-US" dirty="0" err="1" smtClean="0"/>
              <a:t>d.OrderID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		GROUP BY </a:t>
            </a:r>
            <a:r>
              <a:rPr lang="en-US" dirty="0" err="1" smtClean="0"/>
              <a:t>c.CustomerID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		ORDER BY TOTAL_COST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		DESC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		LIMIT 10) sub)</a:t>
            </a:r>
          </a:p>
          <a:p>
            <a:pPr lvl="0" rtl="0">
              <a:spcBef>
                <a:spcPts val="0"/>
              </a:spcBef>
              <a:buNone/>
            </a:pP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SELECT </a:t>
            </a:r>
            <a:r>
              <a:rPr lang="en-US" dirty="0" err="1" smtClean="0"/>
              <a:t>CompanyName</a:t>
            </a:r>
            <a:r>
              <a:rPr lang="en-US" dirty="0" smtClean="0"/>
              <a:t>, </a:t>
            </a:r>
            <a:r>
              <a:rPr lang="en-US" dirty="0" err="1" smtClean="0"/>
              <a:t>CategoryName</a:t>
            </a:r>
            <a:r>
              <a:rPr lang="en-US" dirty="0" smtClean="0"/>
              <a:t>, SUM(</a:t>
            </a:r>
            <a:r>
              <a:rPr lang="en-US" dirty="0" err="1" smtClean="0"/>
              <a:t>d.UnitPrice</a:t>
            </a:r>
            <a:r>
              <a:rPr lang="en-US" dirty="0" smtClean="0"/>
              <a:t> * </a:t>
            </a:r>
            <a:r>
              <a:rPr lang="en-US" dirty="0" err="1" smtClean="0"/>
              <a:t>d.Quantity</a:t>
            </a:r>
            <a:r>
              <a:rPr lang="en-US" dirty="0" smtClean="0"/>
              <a:t> * (1 - </a:t>
            </a:r>
            <a:r>
              <a:rPr lang="en-US" dirty="0" err="1" smtClean="0"/>
              <a:t>d.Discount</a:t>
            </a:r>
            <a:r>
              <a:rPr lang="en-US" dirty="0" smtClean="0"/>
              <a:t>)) AS </a:t>
            </a:r>
            <a:r>
              <a:rPr lang="en-US" dirty="0" err="1" smtClean="0"/>
              <a:t>TotalCost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FROM Customers c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JOIN Orders o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ON </a:t>
            </a:r>
            <a:r>
              <a:rPr lang="en-US" dirty="0" err="1" smtClean="0"/>
              <a:t>c.CustomerID</a:t>
            </a:r>
            <a:r>
              <a:rPr lang="en-US" dirty="0" smtClean="0"/>
              <a:t> = </a:t>
            </a:r>
            <a:r>
              <a:rPr lang="en-US" dirty="0" err="1" smtClean="0"/>
              <a:t>o.CustomerID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JOIN </a:t>
            </a:r>
            <a:r>
              <a:rPr lang="en-US" dirty="0" err="1" smtClean="0"/>
              <a:t>OrderDetails</a:t>
            </a:r>
            <a:r>
              <a:rPr lang="en-US" dirty="0" smtClean="0"/>
              <a:t> d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ON </a:t>
            </a:r>
            <a:r>
              <a:rPr lang="en-US" dirty="0" err="1" smtClean="0"/>
              <a:t>o.OrderId</a:t>
            </a:r>
            <a:r>
              <a:rPr lang="en-US" dirty="0" smtClean="0"/>
              <a:t> = </a:t>
            </a:r>
            <a:r>
              <a:rPr lang="en-US" dirty="0" err="1" smtClean="0"/>
              <a:t>d.OrderID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JOIN Products p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ON </a:t>
            </a:r>
            <a:r>
              <a:rPr lang="en-US" dirty="0" err="1" smtClean="0"/>
              <a:t>d.ProductID</a:t>
            </a:r>
            <a:r>
              <a:rPr lang="en-US" dirty="0" smtClean="0"/>
              <a:t> = </a:t>
            </a:r>
            <a:r>
              <a:rPr lang="en-US" dirty="0" err="1" smtClean="0"/>
              <a:t>p.ProductID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JOIN Categories </a:t>
            </a:r>
            <a:r>
              <a:rPr lang="en-US" dirty="0" err="1" smtClean="0"/>
              <a:t>cs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ON </a:t>
            </a:r>
            <a:r>
              <a:rPr lang="en-US" dirty="0" err="1" smtClean="0"/>
              <a:t>p.CategoryID</a:t>
            </a:r>
            <a:r>
              <a:rPr lang="en-US" dirty="0" smtClean="0"/>
              <a:t> = </a:t>
            </a:r>
            <a:r>
              <a:rPr lang="en-US" dirty="0" err="1" smtClean="0"/>
              <a:t>cs.CategoryID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JOIN </a:t>
            </a:r>
            <a:r>
              <a:rPr lang="en-US" dirty="0" err="1" smtClean="0"/>
              <a:t>TopCustomers</a:t>
            </a:r>
            <a:r>
              <a:rPr lang="en-US" dirty="0" smtClean="0"/>
              <a:t> t1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ON </a:t>
            </a:r>
            <a:r>
              <a:rPr lang="en-US" dirty="0" err="1" smtClean="0"/>
              <a:t>c.CustomerID</a:t>
            </a:r>
            <a:r>
              <a:rPr lang="en-US" dirty="0" smtClean="0"/>
              <a:t> = t1.CustomerID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GROUP BY </a:t>
            </a:r>
            <a:r>
              <a:rPr lang="en-US" dirty="0" err="1" smtClean="0"/>
              <a:t>CompanyName</a:t>
            </a:r>
            <a:r>
              <a:rPr lang="en-US" dirty="0" smtClean="0"/>
              <a:t>, </a:t>
            </a:r>
            <a:r>
              <a:rPr lang="en-US" dirty="0" err="1" smtClean="0"/>
              <a:t>CategoryName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ORDER BY </a:t>
            </a:r>
            <a:r>
              <a:rPr lang="en-US" dirty="0" err="1" smtClean="0"/>
              <a:t>CompanyName</a:t>
            </a:r>
            <a:r>
              <a:rPr lang="en-US" dirty="0" smtClean="0"/>
              <a:t>, </a:t>
            </a:r>
            <a:r>
              <a:rPr lang="en-US" dirty="0" err="1" smtClean="0"/>
              <a:t>TotalCost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DESC;</a:t>
            </a: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31373804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" name="Shape 5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SELECT </a:t>
            </a:r>
            <a:r>
              <a:rPr lang="en-US" dirty="0" err="1" smtClean="0"/>
              <a:t>s.CompanyName</a:t>
            </a:r>
            <a:r>
              <a:rPr lang="en-US" dirty="0" smtClean="0"/>
              <a:t>, SUM(</a:t>
            </a:r>
            <a:r>
              <a:rPr lang="en-US" dirty="0" err="1" smtClean="0"/>
              <a:t>od.UnitPrice</a:t>
            </a:r>
            <a:r>
              <a:rPr lang="en-US" dirty="0" smtClean="0"/>
              <a:t> * </a:t>
            </a:r>
            <a:r>
              <a:rPr lang="en-US" dirty="0" err="1" smtClean="0"/>
              <a:t>od.Quantity</a:t>
            </a:r>
            <a:r>
              <a:rPr lang="en-US" dirty="0" smtClean="0"/>
              <a:t> * (1 - </a:t>
            </a:r>
            <a:r>
              <a:rPr lang="en-US" dirty="0" err="1" smtClean="0"/>
              <a:t>od.Discount</a:t>
            </a:r>
            <a:r>
              <a:rPr lang="en-US" dirty="0" smtClean="0"/>
              <a:t>)) AS </a:t>
            </a:r>
            <a:r>
              <a:rPr lang="en-US" dirty="0" err="1" smtClean="0"/>
              <a:t>TotalCost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FROM Suppliers s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JOIN Products p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ON </a:t>
            </a:r>
            <a:r>
              <a:rPr lang="en-US" dirty="0" err="1" smtClean="0"/>
              <a:t>s.SupplierID</a:t>
            </a:r>
            <a:r>
              <a:rPr lang="en-US" dirty="0" smtClean="0"/>
              <a:t> = </a:t>
            </a:r>
            <a:r>
              <a:rPr lang="en-US" dirty="0" err="1" smtClean="0"/>
              <a:t>p.SupplierID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JOIN </a:t>
            </a:r>
            <a:r>
              <a:rPr lang="en-US" dirty="0" err="1" smtClean="0"/>
              <a:t>OrderDetails</a:t>
            </a:r>
            <a:r>
              <a:rPr lang="en-US" dirty="0" smtClean="0"/>
              <a:t> od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ON </a:t>
            </a:r>
            <a:r>
              <a:rPr lang="en-US" dirty="0" err="1" smtClean="0"/>
              <a:t>od.ProductID</a:t>
            </a:r>
            <a:r>
              <a:rPr lang="en-US" dirty="0" smtClean="0"/>
              <a:t> = </a:t>
            </a:r>
            <a:r>
              <a:rPr lang="en-US" dirty="0" err="1" smtClean="0"/>
              <a:t>p.ProductID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GROUP BY </a:t>
            </a:r>
            <a:r>
              <a:rPr lang="en-US" dirty="0" err="1" smtClean="0"/>
              <a:t>s.CompanyName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ORDER BY </a:t>
            </a:r>
            <a:r>
              <a:rPr lang="en-US" dirty="0" err="1" smtClean="0"/>
              <a:t>TotalCost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DESC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LIMIT 10;</a:t>
            </a: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23730357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" name="Shape 5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WITH </a:t>
            </a:r>
            <a:r>
              <a:rPr lang="en-US" dirty="0" err="1" smtClean="0"/>
              <a:t>TopSuppliers</a:t>
            </a:r>
            <a:r>
              <a:rPr lang="en-US" dirty="0" smtClean="0"/>
              <a:t> AS (SELECT </a:t>
            </a:r>
            <a:r>
              <a:rPr lang="en-US" dirty="0" err="1" smtClean="0"/>
              <a:t>SupplierID</a:t>
            </a:r>
            <a:r>
              <a:rPr lang="en-US" dirty="0" smtClean="0"/>
              <a:t> FROM (SELECT </a:t>
            </a:r>
            <a:r>
              <a:rPr lang="en-US" dirty="0" err="1" smtClean="0"/>
              <a:t>s.SupplierID</a:t>
            </a:r>
            <a:r>
              <a:rPr lang="en-US" dirty="0" smtClean="0"/>
              <a:t>, SUM(</a:t>
            </a:r>
            <a:r>
              <a:rPr lang="en-US" dirty="0" err="1" smtClean="0"/>
              <a:t>od.UnitPrice</a:t>
            </a:r>
            <a:r>
              <a:rPr lang="en-US" dirty="0" smtClean="0"/>
              <a:t> * </a:t>
            </a:r>
            <a:r>
              <a:rPr lang="en-US" dirty="0" err="1" smtClean="0"/>
              <a:t>od.Quantity</a:t>
            </a:r>
            <a:r>
              <a:rPr lang="en-US" dirty="0" smtClean="0"/>
              <a:t> * (1 - </a:t>
            </a:r>
            <a:r>
              <a:rPr lang="en-US" dirty="0" err="1" smtClean="0"/>
              <a:t>od.Discount</a:t>
            </a:r>
            <a:r>
              <a:rPr lang="en-US" dirty="0" smtClean="0"/>
              <a:t>)) AS </a:t>
            </a:r>
            <a:r>
              <a:rPr lang="en-US" dirty="0" err="1" smtClean="0"/>
              <a:t>TotalCost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FROM Suppliers s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JOIN Products p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ON </a:t>
            </a:r>
            <a:r>
              <a:rPr lang="en-US" dirty="0" err="1" smtClean="0"/>
              <a:t>s.SupplierID</a:t>
            </a:r>
            <a:r>
              <a:rPr lang="en-US" dirty="0" smtClean="0"/>
              <a:t> = </a:t>
            </a:r>
            <a:r>
              <a:rPr lang="en-US" dirty="0" err="1" smtClean="0"/>
              <a:t>p.SupplierID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JOIN </a:t>
            </a:r>
            <a:r>
              <a:rPr lang="en-US" dirty="0" err="1" smtClean="0"/>
              <a:t>OrderDetails</a:t>
            </a:r>
            <a:r>
              <a:rPr lang="en-US" dirty="0" smtClean="0"/>
              <a:t> od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ON </a:t>
            </a:r>
            <a:r>
              <a:rPr lang="en-US" dirty="0" err="1" smtClean="0"/>
              <a:t>od.ProductID</a:t>
            </a:r>
            <a:r>
              <a:rPr lang="en-US" dirty="0" smtClean="0"/>
              <a:t> = </a:t>
            </a:r>
            <a:r>
              <a:rPr lang="en-US" dirty="0" err="1" smtClean="0"/>
              <a:t>p.ProductID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GROUP BY </a:t>
            </a:r>
            <a:r>
              <a:rPr lang="en-US" dirty="0" err="1" smtClean="0"/>
              <a:t>s.CompanyName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ORDER BY </a:t>
            </a:r>
            <a:r>
              <a:rPr lang="en-US" dirty="0" err="1" smtClean="0"/>
              <a:t>TotalCost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DESC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LIMIT 10) sub)</a:t>
            </a:r>
          </a:p>
          <a:p>
            <a:pPr lvl="0" rtl="0">
              <a:spcBef>
                <a:spcPts val="0"/>
              </a:spcBef>
              <a:buNone/>
            </a:pP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SELECT </a:t>
            </a:r>
            <a:r>
              <a:rPr lang="en-US" dirty="0" err="1" smtClean="0"/>
              <a:t>s.CompanyName</a:t>
            </a:r>
            <a:r>
              <a:rPr lang="en-US" dirty="0" smtClean="0"/>
              <a:t>, </a:t>
            </a:r>
            <a:r>
              <a:rPr lang="en-US" dirty="0" err="1" smtClean="0"/>
              <a:t>ct.CategoryName</a:t>
            </a:r>
            <a:r>
              <a:rPr lang="en-US" dirty="0" smtClean="0"/>
              <a:t>, SUM(</a:t>
            </a:r>
            <a:r>
              <a:rPr lang="en-US" dirty="0" err="1" smtClean="0"/>
              <a:t>od.UnitPrice</a:t>
            </a:r>
            <a:r>
              <a:rPr lang="en-US" dirty="0" smtClean="0"/>
              <a:t> * </a:t>
            </a:r>
            <a:r>
              <a:rPr lang="en-US" dirty="0" err="1" smtClean="0"/>
              <a:t>od.Quantity</a:t>
            </a:r>
            <a:r>
              <a:rPr lang="en-US" dirty="0" smtClean="0"/>
              <a:t> * (1 - </a:t>
            </a:r>
            <a:r>
              <a:rPr lang="en-US" dirty="0" err="1" smtClean="0"/>
              <a:t>od.Discount</a:t>
            </a:r>
            <a:r>
              <a:rPr lang="en-US" dirty="0" smtClean="0"/>
              <a:t>)) AS </a:t>
            </a:r>
            <a:r>
              <a:rPr lang="en-US" dirty="0" err="1" smtClean="0"/>
              <a:t>TotalCost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FROM Suppliers s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JOIN Products p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ON </a:t>
            </a:r>
            <a:r>
              <a:rPr lang="en-US" dirty="0" err="1" smtClean="0"/>
              <a:t>s.SupplierID</a:t>
            </a:r>
            <a:r>
              <a:rPr lang="en-US" dirty="0" smtClean="0"/>
              <a:t> = </a:t>
            </a:r>
            <a:r>
              <a:rPr lang="en-US" dirty="0" err="1" smtClean="0"/>
              <a:t>p.SupplierID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JOIN </a:t>
            </a:r>
            <a:r>
              <a:rPr lang="en-US" dirty="0" err="1" smtClean="0"/>
              <a:t>OrderDetails</a:t>
            </a:r>
            <a:r>
              <a:rPr lang="en-US" dirty="0" smtClean="0"/>
              <a:t> od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ON </a:t>
            </a:r>
            <a:r>
              <a:rPr lang="en-US" dirty="0" err="1" smtClean="0"/>
              <a:t>od.ProductID</a:t>
            </a:r>
            <a:r>
              <a:rPr lang="en-US" dirty="0" smtClean="0"/>
              <a:t> = </a:t>
            </a:r>
            <a:r>
              <a:rPr lang="en-US" dirty="0" err="1" smtClean="0"/>
              <a:t>p.ProductID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JOIN Orders o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ON </a:t>
            </a:r>
            <a:r>
              <a:rPr lang="en-US" dirty="0" err="1" smtClean="0"/>
              <a:t>o.OrderId</a:t>
            </a:r>
            <a:r>
              <a:rPr lang="en-US" dirty="0" smtClean="0"/>
              <a:t> = </a:t>
            </a:r>
            <a:r>
              <a:rPr lang="en-US" dirty="0" err="1" smtClean="0"/>
              <a:t>od.OrderID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JOIN Categories </a:t>
            </a:r>
            <a:r>
              <a:rPr lang="en-US" dirty="0" err="1" smtClean="0"/>
              <a:t>ct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ON </a:t>
            </a:r>
            <a:r>
              <a:rPr lang="en-US" dirty="0" err="1" smtClean="0"/>
              <a:t>ct.CategoryID</a:t>
            </a:r>
            <a:r>
              <a:rPr lang="en-US" dirty="0" smtClean="0"/>
              <a:t> = </a:t>
            </a:r>
            <a:r>
              <a:rPr lang="en-US" dirty="0" err="1" smtClean="0"/>
              <a:t>p.CategoryID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JOIN </a:t>
            </a:r>
            <a:r>
              <a:rPr lang="en-US" dirty="0" err="1" smtClean="0"/>
              <a:t>TopSuppliers</a:t>
            </a:r>
            <a:r>
              <a:rPr lang="en-US" dirty="0" smtClean="0"/>
              <a:t> </a:t>
            </a:r>
            <a:r>
              <a:rPr lang="en-US" dirty="0" err="1" smtClean="0"/>
              <a:t>ts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ON </a:t>
            </a:r>
            <a:r>
              <a:rPr lang="en-US" dirty="0" err="1" smtClean="0"/>
              <a:t>ts.SupplierID</a:t>
            </a:r>
            <a:r>
              <a:rPr lang="en-US" dirty="0" smtClean="0"/>
              <a:t> = </a:t>
            </a:r>
            <a:r>
              <a:rPr lang="en-US" dirty="0" err="1" smtClean="0"/>
              <a:t>s.SupplierID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GROUP BY </a:t>
            </a:r>
            <a:r>
              <a:rPr lang="en-US" dirty="0" err="1" smtClean="0"/>
              <a:t>CompanyName</a:t>
            </a:r>
            <a:r>
              <a:rPr lang="en-US" dirty="0" smtClean="0"/>
              <a:t>, </a:t>
            </a:r>
            <a:r>
              <a:rPr lang="en-US" dirty="0" err="1" smtClean="0"/>
              <a:t>CategoryName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ORDER BY </a:t>
            </a:r>
            <a:r>
              <a:rPr lang="en-US" dirty="0" err="1" smtClean="0"/>
              <a:t>CompanyName</a:t>
            </a:r>
            <a:r>
              <a:rPr lang="en-US" dirty="0" smtClean="0"/>
              <a:t>, </a:t>
            </a:r>
            <a:r>
              <a:rPr lang="en-US" dirty="0" err="1" smtClean="0"/>
              <a:t>TotalCost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DESC;</a:t>
            </a: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23445115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" name="Shape 5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SELECT </a:t>
            </a:r>
            <a:r>
              <a:rPr lang="en-US" dirty="0" err="1" smtClean="0"/>
              <a:t>ca.CategoryName</a:t>
            </a:r>
            <a:r>
              <a:rPr lang="en-US" dirty="0" smtClean="0"/>
              <a:t>, STRFTIME('%m/%Y', </a:t>
            </a:r>
            <a:r>
              <a:rPr lang="en-US" dirty="0" err="1" smtClean="0"/>
              <a:t>o.OrderDate</a:t>
            </a:r>
            <a:r>
              <a:rPr lang="en-US" dirty="0" smtClean="0"/>
              <a:t>) AS </a:t>
            </a:r>
            <a:r>
              <a:rPr lang="en-US" dirty="0" err="1" smtClean="0"/>
              <a:t>OrderMonth</a:t>
            </a:r>
            <a:r>
              <a:rPr lang="en-US" dirty="0" smtClean="0"/>
              <a:t>, SUM(</a:t>
            </a:r>
            <a:r>
              <a:rPr lang="en-US" dirty="0" err="1" smtClean="0"/>
              <a:t>od.UnitPrice</a:t>
            </a:r>
            <a:r>
              <a:rPr lang="en-US" dirty="0" smtClean="0"/>
              <a:t> * </a:t>
            </a:r>
            <a:r>
              <a:rPr lang="en-US" dirty="0" err="1" smtClean="0"/>
              <a:t>od.Quantity</a:t>
            </a:r>
            <a:r>
              <a:rPr lang="en-US" dirty="0" smtClean="0"/>
              <a:t> * (1 - </a:t>
            </a:r>
            <a:r>
              <a:rPr lang="en-US" dirty="0" err="1" smtClean="0"/>
              <a:t>od.Discount</a:t>
            </a:r>
            <a:r>
              <a:rPr lang="en-US" dirty="0" smtClean="0"/>
              <a:t>)) AS </a:t>
            </a:r>
            <a:r>
              <a:rPr lang="en-US" dirty="0" err="1" smtClean="0"/>
              <a:t>TotalSales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  FROM Categories ca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  JOIN Products p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  ON </a:t>
            </a:r>
            <a:r>
              <a:rPr lang="en-US" dirty="0" err="1" smtClean="0"/>
              <a:t>ca.CategoryID</a:t>
            </a:r>
            <a:r>
              <a:rPr lang="en-US" dirty="0" smtClean="0"/>
              <a:t> = </a:t>
            </a:r>
            <a:r>
              <a:rPr lang="en-US" dirty="0" err="1" smtClean="0"/>
              <a:t>p.CategoryID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  JOIN </a:t>
            </a:r>
            <a:r>
              <a:rPr lang="en-US" dirty="0" err="1" smtClean="0"/>
              <a:t>OrderDetails</a:t>
            </a:r>
            <a:r>
              <a:rPr lang="en-US" dirty="0" smtClean="0"/>
              <a:t> od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  ON </a:t>
            </a:r>
            <a:r>
              <a:rPr lang="en-US" dirty="0" err="1" smtClean="0"/>
              <a:t>p.ProductID</a:t>
            </a:r>
            <a:r>
              <a:rPr lang="en-US" dirty="0" smtClean="0"/>
              <a:t> = </a:t>
            </a:r>
            <a:r>
              <a:rPr lang="en-US" dirty="0" err="1" smtClean="0"/>
              <a:t>od.ProductID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  JOIN Orders o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  ON </a:t>
            </a:r>
            <a:r>
              <a:rPr lang="en-US" dirty="0" err="1" smtClean="0"/>
              <a:t>od.OrderID</a:t>
            </a:r>
            <a:r>
              <a:rPr lang="en-US" dirty="0" smtClean="0"/>
              <a:t> = </a:t>
            </a:r>
            <a:r>
              <a:rPr lang="en-US" dirty="0" err="1" smtClean="0"/>
              <a:t>o.OrderId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  GROUP BY 1, 2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  ORDER BY 1, 2</a:t>
            </a: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2091326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" name="Shape 5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SELECT </a:t>
            </a:r>
            <a:r>
              <a:rPr lang="en-US" dirty="0" err="1" smtClean="0"/>
              <a:t>e.EmployeeID</a:t>
            </a:r>
            <a:r>
              <a:rPr lang="en-US" dirty="0" smtClean="0"/>
              <a:t>, PRINTF('%s %s', </a:t>
            </a:r>
            <a:r>
              <a:rPr lang="en-US" dirty="0" err="1" smtClean="0"/>
              <a:t>FirstName</a:t>
            </a:r>
            <a:r>
              <a:rPr lang="en-US" dirty="0" smtClean="0"/>
              <a:t>, </a:t>
            </a:r>
            <a:r>
              <a:rPr lang="en-US" dirty="0" err="1" smtClean="0"/>
              <a:t>LastName</a:t>
            </a:r>
            <a:r>
              <a:rPr lang="en-US" dirty="0" smtClean="0"/>
              <a:t>) AS Name, Country, t1.TotalSales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FROM Employees e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JOIN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(SELECT </a:t>
            </a:r>
            <a:r>
              <a:rPr lang="en-US" dirty="0" err="1" smtClean="0"/>
              <a:t>EmployeeID</a:t>
            </a:r>
            <a:r>
              <a:rPr lang="en-US" dirty="0" smtClean="0"/>
              <a:t>, </a:t>
            </a:r>
            <a:r>
              <a:rPr lang="en-US" dirty="0" err="1" smtClean="0"/>
              <a:t>TotalSales</a:t>
            </a:r>
            <a:r>
              <a:rPr lang="en-US" dirty="0" smtClean="0"/>
              <a:t> FROM (SELECT </a:t>
            </a:r>
            <a:r>
              <a:rPr lang="en-US" dirty="0" err="1" smtClean="0"/>
              <a:t>e.EmployeeID</a:t>
            </a:r>
            <a:r>
              <a:rPr lang="en-US" dirty="0" smtClean="0"/>
              <a:t>, SUM(</a:t>
            </a:r>
            <a:r>
              <a:rPr lang="en-US" dirty="0" err="1" smtClean="0"/>
              <a:t>od.UnitPrice</a:t>
            </a:r>
            <a:r>
              <a:rPr lang="en-US" dirty="0" smtClean="0"/>
              <a:t> * </a:t>
            </a:r>
            <a:r>
              <a:rPr lang="en-US" dirty="0" err="1" smtClean="0"/>
              <a:t>od.Quantity</a:t>
            </a:r>
            <a:r>
              <a:rPr lang="en-US" dirty="0" smtClean="0"/>
              <a:t> * (1 - </a:t>
            </a:r>
            <a:r>
              <a:rPr lang="en-US" dirty="0" err="1" smtClean="0"/>
              <a:t>od.Discount</a:t>
            </a:r>
            <a:r>
              <a:rPr lang="en-US" dirty="0" smtClean="0"/>
              <a:t>)) AS </a:t>
            </a:r>
            <a:r>
              <a:rPr lang="en-US" dirty="0" err="1" smtClean="0"/>
              <a:t>TotalSales</a:t>
            </a:r>
            <a:r>
              <a:rPr lang="en-US" dirty="0" smtClean="0"/>
              <a:t> 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FROM Employees e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JOIN Orders o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ON </a:t>
            </a:r>
            <a:r>
              <a:rPr lang="en-US" dirty="0" err="1" smtClean="0"/>
              <a:t>o.EmployeeID</a:t>
            </a:r>
            <a:r>
              <a:rPr lang="en-US" dirty="0" smtClean="0"/>
              <a:t> = </a:t>
            </a:r>
            <a:r>
              <a:rPr lang="en-US" dirty="0" err="1" smtClean="0"/>
              <a:t>e.EmployeeID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JOIN </a:t>
            </a:r>
            <a:r>
              <a:rPr lang="en-US" dirty="0" err="1" smtClean="0"/>
              <a:t>OrderDetails</a:t>
            </a:r>
            <a:r>
              <a:rPr lang="en-US" dirty="0" smtClean="0"/>
              <a:t> od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ON </a:t>
            </a:r>
            <a:r>
              <a:rPr lang="en-US" dirty="0" err="1" smtClean="0"/>
              <a:t>od.OrderID</a:t>
            </a:r>
            <a:r>
              <a:rPr lang="en-US" dirty="0" smtClean="0"/>
              <a:t> = </a:t>
            </a:r>
            <a:r>
              <a:rPr lang="en-US" dirty="0" err="1" smtClean="0"/>
              <a:t>o.OrderId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GROUP BY 1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ORDER BY 2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DESC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LIMIT 1)) AS t1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ON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err="1" smtClean="0"/>
              <a:t>e.EmployeeID</a:t>
            </a:r>
            <a:r>
              <a:rPr lang="en-US" dirty="0" smtClean="0"/>
              <a:t> = t1.EmployeeID</a:t>
            </a: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39877092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" name="Shape 5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SELECT </a:t>
            </a:r>
            <a:r>
              <a:rPr lang="en-US" dirty="0" err="1" smtClean="0"/>
              <a:t>c.CategoryName</a:t>
            </a:r>
            <a:r>
              <a:rPr lang="en-US" dirty="0" smtClean="0"/>
              <a:t>, COUNT(*) AS </a:t>
            </a:r>
            <a:r>
              <a:rPr lang="en-US" dirty="0" err="1" smtClean="0"/>
              <a:t>ProductNum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FROM Categories c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JOIN Products p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ON </a:t>
            </a:r>
            <a:r>
              <a:rPr lang="en-US" dirty="0" err="1" smtClean="0"/>
              <a:t>c.CategoryID</a:t>
            </a:r>
            <a:r>
              <a:rPr lang="en-US" dirty="0" smtClean="0"/>
              <a:t> = </a:t>
            </a:r>
            <a:r>
              <a:rPr lang="en-US" dirty="0" err="1" smtClean="0"/>
              <a:t>p.CategoryID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JOIN </a:t>
            </a:r>
            <a:r>
              <a:rPr lang="en-US" dirty="0" err="1" smtClean="0"/>
              <a:t>OrderDetails</a:t>
            </a:r>
            <a:r>
              <a:rPr lang="en-US" dirty="0" smtClean="0"/>
              <a:t> od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ON </a:t>
            </a:r>
            <a:r>
              <a:rPr lang="en-US" dirty="0" err="1" smtClean="0"/>
              <a:t>od.ProductID</a:t>
            </a:r>
            <a:r>
              <a:rPr lang="en-US" dirty="0" smtClean="0"/>
              <a:t> = </a:t>
            </a:r>
            <a:r>
              <a:rPr lang="en-US" dirty="0" err="1" smtClean="0"/>
              <a:t>p.ProductID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JOIN Orders o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ON </a:t>
            </a:r>
            <a:r>
              <a:rPr lang="en-US" dirty="0" err="1" smtClean="0"/>
              <a:t>o.OrderId</a:t>
            </a:r>
            <a:r>
              <a:rPr lang="en-US" dirty="0" smtClean="0"/>
              <a:t> = </a:t>
            </a:r>
            <a:r>
              <a:rPr lang="en-US" dirty="0" err="1" smtClean="0"/>
              <a:t>od.OrderID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WHERE </a:t>
            </a:r>
            <a:r>
              <a:rPr lang="en-US" dirty="0" err="1" smtClean="0"/>
              <a:t>o.EmployeeID</a:t>
            </a:r>
            <a:r>
              <a:rPr lang="en-US" dirty="0" smtClean="0"/>
              <a:t> = (SELECT </a:t>
            </a:r>
            <a:r>
              <a:rPr lang="en-US" dirty="0" err="1" smtClean="0"/>
              <a:t>EmployeeID</a:t>
            </a:r>
            <a:r>
              <a:rPr lang="en-US" dirty="0" smtClean="0"/>
              <a:t> FROM (SELECT </a:t>
            </a:r>
            <a:r>
              <a:rPr lang="en-US" dirty="0" err="1" smtClean="0"/>
              <a:t>e.EmployeeID</a:t>
            </a:r>
            <a:r>
              <a:rPr lang="en-US" dirty="0" smtClean="0"/>
              <a:t>, SUM(</a:t>
            </a:r>
            <a:r>
              <a:rPr lang="en-US" dirty="0" err="1" smtClean="0"/>
              <a:t>od.UnitPrice</a:t>
            </a:r>
            <a:r>
              <a:rPr lang="en-US" dirty="0" smtClean="0"/>
              <a:t> * </a:t>
            </a:r>
            <a:r>
              <a:rPr lang="en-US" dirty="0" err="1" smtClean="0"/>
              <a:t>od.Quantity</a:t>
            </a:r>
            <a:r>
              <a:rPr lang="en-US" dirty="0" smtClean="0"/>
              <a:t> * (1 - </a:t>
            </a:r>
            <a:r>
              <a:rPr lang="en-US" dirty="0" err="1" smtClean="0"/>
              <a:t>od.Discount</a:t>
            </a:r>
            <a:r>
              <a:rPr lang="en-US" dirty="0" smtClean="0"/>
              <a:t>)) AS </a:t>
            </a:r>
            <a:r>
              <a:rPr lang="en-US" dirty="0" err="1" smtClean="0"/>
              <a:t>TotalSales</a:t>
            </a:r>
            <a:r>
              <a:rPr lang="en-US" dirty="0" smtClean="0"/>
              <a:t> 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FROM Employees e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JOIN Orders o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ON </a:t>
            </a:r>
            <a:r>
              <a:rPr lang="en-US" dirty="0" err="1" smtClean="0"/>
              <a:t>o.EmployeeID</a:t>
            </a:r>
            <a:r>
              <a:rPr lang="en-US" dirty="0" smtClean="0"/>
              <a:t> = </a:t>
            </a:r>
            <a:r>
              <a:rPr lang="en-US" dirty="0" err="1" smtClean="0"/>
              <a:t>e.EmployeeID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JOIN </a:t>
            </a:r>
            <a:r>
              <a:rPr lang="en-US" dirty="0" err="1" smtClean="0"/>
              <a:t>OrderDetails</a:t>
            </a:r>
            <a:r>
              <a:rPr lang="en-US" dirty="0" smtClean="0"/>
              <a:t> od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ON </a:t>
            </a:r>
            <a:r>
              <a:rPr lang="en-US" dirty="0" err="1" smtClean="0"/>
              <a:t>od.OrderID</a:t>
            </a:r>
            <a:r>
              <a:rPr lang="en-US" dirty="0" smtClean="0"/>
              <a:t> = </a:t>
            </a:r>
            <a:r>
              <a:rPr lang="en-US" dirty="0" err="1" smtClean="0"/>
              <a:t>o.OrderId</a:t>
            </a:r>
            <a:endParaRPr lang="en-US" dirty="0" smtClean="0"/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GROUP BY 1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ORDER BY 2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DESC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LIMIT 1) t1)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GROUP BY 1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ORDER BY 2 </a:t>
            </a:r>
          </a:p>
          <a:p>
            <a:pPr lvl="0" rtl="0">
              <a:spcBef>
                <a:spcPts val="0"/>
              </a:spcBef>
              <a:buNone/>
            </a:pPr>
            <a:r>
              <a:rPr lang="en-US" dirty="0" smtClean="0"/>
              <a:t>DESC</a:t>
            </a: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25160676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0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algn="ctr">
              <a:spcBef>
                <a:spcPts val="0"/>
              </a:spcBef>
              <a:buSzPct val="100000"/>
              <a:defRPr sz="5200"/>
            </a:lvl1pPr>
            <a:lvl2pPr lvl="1" algn="ctr">
              <a:spcBef>
                <a:spcPts val="0"/>
              </a:spcBef>
              <a:buSzPct val="100000"/>
              <a:defRPr sz="5200"/>
            </a:lvl2pPr>
            <a:lvl3pPr lvl="2" algn="ctr">
              <a:spcBef>
                <a:spcPts val="0"/>
              </a:spcBef>
              <a:buSzPct val="100000"/>
              <a:defRPr sz="5200"/>
            </a:lvl3pPr>
            <a:lvl4pPr lvl="3" algn="ctr">
              <a:spcBef>
                <a:spcPts val="0"/>
              </a:spcBef>
              <a:buSzPct val="100000"/>
              <a:defRPr sz="5200"/>
            </a:lvl4pPr>
            <a:lvl5pPr lvl="4" algn="ctr">
              <a:spcBef>
                <a:spcPts val="0"/>
              </a:spcBef>
              <a:buSzPct val="100000"/>
              <a:defRPr sz="5200"/>
            </a:lvl5pPr>
            <a:lvl6pPr lvl="5" algn="ctr">
              <a:spcBef>
                <a:spcPts val="0"/>
              </a:spcBef>
              <a:buSzPct val="100000"/>
              <a:defRPr sz="5200"/>
            </a:lvl6pPr>
            <a:lvl7pPr lvl="6" algn="ctr">
              <a:spcBef>
                <a:spcPts val="0"/>
              </a:spcBef>
              <a:buSzPct val="100000"/>
              <a:defRPr sz="5200"/>
            </a:lvl7pPr>
            <a:lvl8pPr lvl="7" algn="ctr">
              <a:spcBef>
                <a:spcPts val="0"/>
              </a:spcBef>
              <a:buSzPct val="100000"/>
              <a:defRPr sz="5200"/>
            </a:lvl8pPr>
            <a:lvl9pPr lvl="8" algn="ctr">
              <a:spcBef>
                <a:spcPts val="0"/>
              </a:spcBef>
              <a:buSzPct val="100000"/>
              <a:defRPr sz="5200"/>
            </a:lvl9pPr>
          </a:lstStyle>
          <a:p>
            <a:endParaRPr/>
          </a:p>
        </p:txBody>
      </p:sp>
      <p:sp>
        <p:nvSpPr>
          <p:cNvPr id="11" name="Shape 11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9pPr>
          </a:lstStyle>
          <a:p>
            <a:endParaRPr/>
          </a:p>
        </p:txBody>
      </p:sp>
      <p:sp>
        <p:nvSpPr>
          <p:cNvPr id="12" name="Shape 12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 txBox="1">
            <a:spLocks noGrp="1"/>
          </p:cNvSpPr>
          <p:nvPr>
            <p:ph type="title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algn="ctr">
              <a:spcBef>
                <a:spcPts val="0"/>
              </a:spcBef>
              <a:buSzPct val="100000"/>
              <a:defRPr sz="12000"/>
            </a:lvl1pPr>
            <a:lvl2pPr lvl="1" algn="ctr">
              <a:spcBef>
                <a:spcPts val="0"/>
              </a:spcBef>
              <a:buSzPct val="100000"/>
              <a:defRPr sz="12000"/>
            </a:lvl2pPr>
            <a:lvl3pPr lvl="2" algn="ctr">
              <a:spcBef>
                <a:spcPts val="0"/>
              </a:spcBef>
              <a:buSzPct val="100000"/>
              <a:defRPr sz="12000"/>
            </a:lvl3pPr>
            <a:lvl4pPr lvl="3" algn="ctr">
              <a:spcBef>
                <a:spcPts val="0"/>
              </a:spcBef>
              <a:buSzPct val="100000"/>
              <a:defRPr sz="12000"/>
            </a:lvl4pPr>
            <a:lvl5pPr lvl="4" algn="ctr">
              <a:spcBef>
                <a:spcPts val="0"/>
              </a:spcBef>
              <a:buSzPct val="100000"/>
              <a:defRPr sz="12000"/>
            </a:lvl5pPr>
            <a:lvl6pPr lvl="5" algn="ctr">
              <a:spcBef>
                <a:spcPts val="0"/>
              </a:spcBef>
              <a:buSzPct val="100000"/>
              <a:defRPr sz="12000"/>
            </a:lvl6pPr>
            <a:lvl7pPr lvl="6" algn="ctr">
              <a:spcBef>
                <a:spcPts val="0"/>
              </a:spcBef>
              <a:buSzPct val="100000"/>
              <a:defRPr sz="12000"/>
            </a:lvl7pPr>
            <a:lvl8pPr lvl="7" algn="ctr">
              <a:spcBef>
                <a:spcPts val="0"/>
              </a:spcBef>
              <a:buSzPct val="100000"/>
              <a:defRPr sz="12000"/>
            </a:lvl8pPr>
            <a:lvl9pPr lvl="8" algn="ctr">
              <a:spcBef>
                <a:spcPts val="0"/>
              </a:spcBef>
              <a:buSzPct val="100000"/>
              <a:defRPr sz="12000"/>
            </a:lvl9pPr>
          </a:lstStyle>
          <a:p>
            <a:endParaRPr/>
          </a:p>
        </p:txBody>
      </p:sp>
      <p:sp>
        <p:nvSpPr>
          <p:cNvPr id="46" name="Shape 46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>
              <a:spcBef>
                <a:spcPts val="0"/>
              </a:spcBef>
              <a:defRPr/>
            </a:lvl1pPr>
            <a:lvl2pPr lvl="1" algn="ctr">
              <a:spcBef>
                <a:spcPts val="0"/>
              </a:spcBef>
              <a:defRPr/>
            </a:lvl2pPr>
            <a:lvl3pPr lvl="2" algn="ctr">
              <a:spcBef>
                <a:spcPts val="0"/>
              </a:spcBef>
              <a:defRPr/>
            </a:lvl3pPr>
            <a:lvl4pPr lvl="3" algn="ctr">
              <a:spcBef>
                <a:spcPts val="0"/>
              </a:spcBef>
              <a:defRPr/>
            </a:lvl4pPr>
            <a:lvl5pPr lvl="4" algn="ctr">
              <a:spcBef>
                <a:spcPts val="0"/>
              </a:spcBef>
              <a:defRPr/>
            </a:lvl5pPr>
            <a:lvl6pPr lvl="5" algn="ctr">
              <a:spcBef>
                <a:spcPts val="0"/>
              </a:spcBef>
              <a:defRPr/>
            </a:lvl6pPr>
            <a:lvl7pPr lvl="6" algn="ctr">
              <a:spcBef>
                <a:spcPts val="0"/>
              </a:spcBef>
              <a:defRPr/>
            </a:lvl7pPr>
            <a:lvl8pPr lvl="7" algn="ctr">
              <a:spcBef>
                <a:spcPts val="0"/>
              </a:spcBef>
              <a:defRPr/>
            </a:lvl8pPr>
            <a:lvl9pPr lvl="8" algn="ctr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47" name="Shape 47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14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 algn="ctr">
              <a:spcBef>
                <a:spcPts val="0"/>
              </a:spcBef>
              <a:buSzPct val="100000"/>
              <a:defRPr sz="3600"/>
            </a:lvl1pPr>
            <a:lvl2pPr lvl="1" algn="ctr">
              <a:spcBef>
                <a:spcPts val="0"/>
              </a:spcBef>
              <a:buSzPct val="100000"/>
              <a:defRPr sz="3600"/>
            </a:lvl2pPr>
            <a:lvl3pPr lvl="2" algn="ctr">
              <a:spcBef>
                <a:spcPts val="0"/>
              </a:spcBef>
              <a:buSzPct val="100000"/>
              <a:defRPr sz="3600"/>
            </a:lvl3pPr>
            <a:lvl4pPr lvl="3" algn="ctr">
              <a:spcBef>
                <a:spcPts val="0"/>
              </a:spcBef>
              <a:buSzPct val="100000"/>
              <a:defRPr sz="3600"/>
            </a:lvl4pPr>
            <a:lvl5pPr lvl="4" algn="ctr">
              <a:spcBef>
                <a:spcPts val="0"/>
              </a:spcBef>
              <a:buSzPct val="100000"/>
              <a:defRPr sz="3600"/>
            </a:lvl5pPr>
            <a:lvl6pPr lvl="5" algn="ctr">
              <a:spcBef>
                <a:spcPts val="0"/>
              </a:spcBef>
              <a:buSzPct val="100000"/>
              <a:defRPr sz="3600"/>
            </a:lvl6pPr>
            <a:lvl7pPr lvl="6" algn="ctr">
              <a:spcBef>
                <a:spcPts val="0"/>
              </a:spcBef>
              <a:buSzPct val="100000"/>
              <a:defRPr sz="3600"/>
            </a:lvl7pPr>
            <a:lvl8pPr lvl="7" algn="ctr">
              <a:spcBef>
                <a:spcPts val="0"/>
              </a:spcBef>
              <a:buSzPct val="100000"/>
              <a:defRPr sz="3600"/>
            </a:lvl8pPr>
            <a:lvl9pPr lvl="8" algn="ctr">
              <a:spcBef>
                <a:spcPts val="0"/>
              </a:spcBef>
              <a:buSzPct val="100000"/>
              <a:defRPr sz="3600"/>
            </a:lvl9pPr>
          </a:lstStyle>
          <a:p>
            <a:endParaRPr/>
          </a:p>
        </p:txBody>
      </p:sp>
      <p:sp>
        <p:nvSpPr>
          <p:cNvPr id="15" name="Shape 15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2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400"/>
            </a:lvl1pPr>
            <a:lvl2pPr lvl="1">
              <a:spcBef>
                <a:spcPts val="0"/>
              </a:spcBef>
              <a:buSzPct val="100000"/>
              <a:defRPr sz="1200"/>
            </a:lvl2pPr>
            <a:lvl3pPr lvl="2">
              <a:spcBef>
                <a:spcPts val="0"/>
              </a:spcBef>
              <a:buSzPct val="100000"/>
              <a:defRPr sz="1200"/>
            </a:lvl3pPr>
            <a:lvl4pPr lvl="3">
              <a:spcBef>
                <a:spcPts val="0"/>
              </a:spcBef>
              <a:buSzPct val="100000"/>
              <a:defRPr sz="1200"/>
            </a:lvl4pPr>
            <a:lvl5pPr lvl="4">
              <a:spcBef>
                <a:spcPts val="0"/>
              </a:spcBef>
              <a:buSzPct val="100000"/>
              <a:defRPr sz="1200"/>
            </a:lvl5pPr>
            <a:lvl6pPr lvl="5">
              <a:spcBef>
                <a:spcPts val="0"/>
              </a:spcBef>
              <a:buSzPct val="100000"/>
              <a:defRPr sz="1200"/>
            </a:lvl6pPr>
            <a:lvl7pPr lvl="6">
              <a:spcBef>
                <a:spcPts val="0"/>
              </a:spcBef>
              <a:buSzPct val="100000"/>
              <a:defRPr sz="1200"/>
            </a:lvl7pPr>
            <a:lvl8pPr lvl="7">
              <a:spcBef>
                <a:spcPts val="0"/>
              </a:spcBef>
              <a:buSzPct val="100000"/>
              <a:defRPr sz="1200"/>
            </a:lvl8pPr>
            <a:lvl9pPr lvl="8">
              <a:spcBef>
                <a:spcPts val="0"/>
              </a:spcBef>
              <a:buSzPct val="100000"/>
              <a:defRPr sz="1200"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400"/>
            </a:lvl1pPr>
            <a:lvl2pPr lvl="1">
              <a:spcBef>
                <a:spcPts val="0"/>
              </a:spcBef>
              <a:buSzPct val="100000"/>
              <a:defRPr sz="1200"/>
            </a:lvl2pPr>
            <a:lvl3pPr lvl="2">
              <a:spcBef>
                <a:spcPts val="0"/>
              </a:spcBef>
              <a:buSzPct val="100000"/>
              <a:defRPr sz="1200"/>
            </a:lvl3pPr>
            <a:lvl4pPr lvl="3">
              <a:spcBef>
                <a:spcPts val="0"/>
              </a:spcBef>
              <a:buSzPct val="100000"/>
              <a:defRPr sz="1200"/>
            </a:lvl4pPr>
            <a:lvl5pPr lvl="4">
              <a:spcBef>
                <a:spcPts val="0"/>
              </a:spcBef>
              <a:buSzPct val="100000"/>
              <a:defRPr sz="1200"/>
            </a:lvl5pPr>
            <a:lvl6pPr lvl="5">
              <a:spcBef>
                <a:spcPts val="0"/>
              </a:spcBef>
              <a:buSzPct val="100000"/>
              <a:defRPr sz="1200"/>
            </a:lvl6pPr>
            <a:lvl7pPr lvl="6">
              <a:spcBef>
                <a:spcPts val="0"/>
              </a:spcBef>
              <a:buSzPct val="100000"/>
              <a:defRPr sz="1200"/>
            </a:lvl7pPr>
            <a:lvl8pPr lvl="7">
              <a:spcBef>
                <a:spcPts val="0"/>
              </a:spcBef>
              <a:buSzPct val="100000"/>
              <a:defRPr sz="1200"/>
            </a:lvl8pPr>
            <a:lvl9pPr lvl="8">
              <a:spcBef>
                <a:spcPts val="0"/>
              </a:spcBef>
              <a:buSzPct val="100000"/>
              <a:defRPr sz="1200"/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2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7" name="Shape 27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2400"/>
            </a:lvl1pPr>
            <a:lvl2pPr lvl="1">
              <a:spcBef>
                <a:spcPts val="0"/>
              </a:spcBef>
              <a:buSzPct val="100000"/>
              <a:defRPr sz="2400"/>
            </a:lvl2pPr>
            <a:lvl3pPr lvl="2">
              <a:spcBef>
                <a:spcPts val="0"/>
              </a:spcBef>
              <a:buSzPct val="100000"/>
              <a:defRPr sz="2400"/>
            </a:lvl3pPr>
            <a:lvl4pPr lvl="3">
              <a:spcBef>
                <a:spcPts val="0"/>
              </a:spcBef>
              <a:buSzPct val="100000"/>
              <a:defRPr sz="2400"/>
            </a:lvl4pPr>
            <a:lvl5pPr lvl="4">
              <a:spcBef>
                <a:spcPts val="0"/>
              </a:spcBef>
              <a:buSzPct val="100000"/>
              <a:defRPr sz="2400"/>
            </a:lvl5pPr>
            <a:lvl6pPr lvl="5">
              <a:spcBef>
                <a:spcPts val="0"/>
              </a:spcBef>
              <a:buSzPct val="100000"/>
              <a:defRPr sz="2400"/>
            </a:lvl6pPr>
            <a:lvl7pPr lvl="6">
              <a:spcBef>
                <a:spcPts val="0"/>
              </a:spcBef>
              <a:buSzPct val="100000"/>
              <a:defRPr sz="2400"/>
            </a:lvl7pPr>
            <a:lvl8pPr lvl="7">
              <a:spcBef>
                <a:spcPts val="0"/>
              </a:spcBef>
              <a:buSzPct val="100000"/>
              <a:defRPr sz="2400"/>
            </a:lvl8pPr>
            <a:lvl9pPr lvl="8">
              <a:spcBef>
                <a:spcPts val="0"/>
              </a:spcBef>
              <a:buSzPct val="100000"/>
              <a:defRPr sz="2400"/>
            </a:lvl9pPr>
          </a:lstStyle>
          <a:p>
            <a:endParaRPr/>
          </a:p>
        </p:txBody>
      </p:sp>
      <p:sp>
        <p:nvSpPr>
          <p:cNvPr id="30" name="Shape 30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200"/>
            </a:lvl1pPr>
            <a:lvl2pPr lvl="1">
              <a:spcBef>
                <a:spcPts val="0"/>
              </a:spcBef>
              <a:buSzPct val="100000"/>
              <a:defRPr sz="1200"/>
            </a:lvl2pPr>
            <a:lvl3pPr lvl="2">
              <a:spcBef>
                <a:spcPts val="0"/>
              </a:spcBef>
              <a:buSzPct val="100000"/>
              <a:defRPr sz="1200"/>
            </a:lvl3pPr>
            <a:lvl4pPr lvl="3">
              <a:spcBef>
                <a:spcPts val="0"/>
              </a:spcBef>
              <a:buSzPct val="100000"/>
              <a:defRPr sz="1200"/>
            </a:lvl4pPr>
            <a:lvl5pPr lvl="4">
              <a:spcBef>
                <a:spcPts val="0"/>
              </a:spcBef>
              <a:buSzPct val="100000"/>
              <a:defRPr sz="1200"/>
            </a:lvl5pPr>
            <a:lvl6pPr lvl="5">
              <a:spcBef>
                <a:spcPts val="0"/>
              </a:spcBef>
              <a:buSzPct val="100000"/>
              <a:defRPr sz="1200"/>
            </a:lvl6pPr>
            <a:lvl7pPr lvl="6">
              <a:spcBef>
                <a:spcPts val="0"/>
              </a:spcBef>
              <a:buSzPct val="100000"/>
              <a:defRPr sz="1200"/>
            </a:lvl7pPr>
            <a:lvl8pPr lvl="7">
              <a:spcBef>
                <a:spcPts val="0"/>
              </a:spcBef>
              <a:buSzPct val="100000"/>
              <a:defRPr sz="1200"/>
            </a:lvl8pPr>
            <a:lvl9pPr lvl="8">
              <a:spcBef>
                <a:spcPts val="0"/>
              </a:spcBef>
              <a:buSzPct val="100000"/>
              <a:defRPr sz="1200"/>
            </a:lvl9pPr>
          </a:lstStyle>
          <a:p>
            <a:endParaRPr/>
          </a:p>
        </p:txBody>
      </p:sp>
      <p:sp>
        <p:nvSpPr>
          <p:cNvPr id="31" name="Shape 31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>
              <a:spcBef>
                <a:spcPts val="0"/>
              </a:spcBef>
              <a:buSzPct val="100000"/>
              <a:defRPr sz="4800"/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endParaRPr/>
          </a:p>
        </p:txBody>
      </p:sp>
      <p:sp>
        <p:nvSpPr>
          <p:cNvPr id="34" name="Shape 34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37" name="Shape 37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algn="ctr">
              <a:spcBef>
                <a:spcPts val="0"/>
              </a:spcBef>
              <a:buSzPct val="100000"/>
              <a:defRPr sz="4200"/>
            </a:lvl1pPr>
            <a:lvl2pPr lvl="1" algn="ctr">
              <a:spcBef>
                <a:spcPts val="0"/>
              </a:spcBef>
              <a:buSzPct val="100000"/>
              <a:defRPr sz="4200"/>
            </a:lvl2pPr>
            <a:lvl3pPr lvl="2" algn="ctr">
              <a:spcBef>
                <a:spcPts val="0"/>
              </a:spcBef>
              <a:buSzPct val="100000"/>
              <a:defRPr sz="4200"/>
            </a:lvl3pPr>
            <a:lvl4pPr lvl="3" algn="ctr">
              <a:spcBef>
                <a:spcPts val="0"/>
              </a:spcBef>
              <a:buSzPct val="100000"/>
              <a:defRPr sz="4200"/>
            </a:lvl4pPr>
            <a:lvl5pPr lvl="4" algn="ctr">
              <a:spcBef>
                <a:spcPts val="0"/>
              </a:spcBef>
              <a:buSzPct val="100000"/>
              <a:defRPr sz="4200"/>
            </a:lvl5pPr>
            <a:lvl6pPr lvl="5" algn="ctr">
              <a:spcBef>
                <a:spcPts val="0"/>
              </a:spcBef>
              <a:buSzPct val="100000"/>
              <a:defRPr sz="4200"/>
            </a:lvl6pPr>
            <a:lvl7pPr lvl="6" algn="ctr">
              <a:spcBef>
                <a:spcPts val="0"/>
              </a:spcBef>
              <a:buSzPct val="100000"/>
              <a:defRPr sz="4200"/>
            </a:lvl7pPr>
            <a:lvl8pPr lvl="7" algn="ctr">
              <a:spcBef>
                <a:spcPts val="0"/>
              </a:spcBef>
              <a:buSzPct val="100000"/>
              <a:defRPr sz="4200"/>
            </a:lvl8pPr>
            <a:lvl9pPr lvl="8" algn="ctr">
              <a:spcBef>
                <a:spcPts val="0"/>
              </a:spcBef>
              <a:buSzPct val="100000"/>
              <a:defRPr sz="4200"/>
            </a:lvl9pPr>
          </a:lstStyle>
          <a:p>
            <a:endParaRPr/>
          </a:p>
        </p:txBody>
      </p:sp>
      <p:sp>
        <p:nvSpPr>
          <p:cNvPr id="38" name="Shape 3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9pPr>
          </a:lstStyle>
          <a:p>
            <a:endParaRPr/>
          </a:p>
        </p:txBody>
      </p:sp>
      <p:sp>
        <p:nvSpPr>
          <p:cNvPr id="39" name="Shape 3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40" name="Shape 40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hape 42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69453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15" imgW="473" imgH="476" progId="TCLayout.ActiveDocument.1">
                  <p:embed/>
                </p:oleObj>
              </mc:Choice>
              <mc:Fallback>
                <p:oleObj name="think-cell Slide" r:id="rId1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defRPr sz="1800">
                <a:solidFill>
                  <a:schemeClr val="dk2"/>
                </a:solidFill>
              </a:defRPr>
            </a:lvl1pPr>
            <a:lvl2pPr lvl="1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2pPr>
            <a:lvl3pPr lvl="2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3pPr>
            <a:lvl4pPr lvl="3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4pPr>
            <a:lvl5pPr lvl="4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5pPr>
            <a:lvl6pPr lvl="5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6pPr>
            <a:lvl7pPr lvl="6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7pPr>
            <a:lvl8pPr lvl="7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8pPr>
            <a:lvl9pPr lvl="8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r">
              <a:spcBef>
                <a:spcPts val="0"/>
              </a:spcBef>
              <a:buNone/>
            </a:pPr>
            <a:fld id="{00000000-1234-1234-1234-123412341234}" type="slidenum">
              <a:rPr lang="en" sz="1000">
                <a:solidFill>
                  <a:schemeClr val="dk2"/>
                </a:solidFill>
              </a:rPr>
              <a:t>‹#›</a:t>
            </a:fld>
            <a:endParaRPr lang="en" sz="1000">
              <a:solidFill>
                <a:schemeClr val="dk2"/>
              </a:solidFill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chart" Target="../charts/char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chart" Target="../charts/chart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chart" Target="../charts/char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chart" Target="../charts/chart5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chart" Target="../charts/chart6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3127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Shape 59"/>
          <p:cNvSpPr txBox="1">
            <a:spLocks noGrp="1"/>
          </p:cNvSpPr>
          <p:nvPr>
            <p:ph type="body" idx="1"/>
          </p:nvPr>
        </p:nvSpPr>
        <p:spPr>
          <a:xfrm>
            <a:off x="5158200" y="1418450"/>
            <a:ext cx="3591300" cy="3072600"/>
          </a:xfrm>
          <a:prstGeom prst="rect">
            <a:avLst/>
          </a:prstGeom>
          <a:solidFill>
            <a:srgbClr val="EFEFEF"/>
          </a:solidFill>
          <a:ln w="9525" cap="flat" cmpd="sng">
            <a:solidFill>
              <a:srgbClr val="999999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t" anchorCtr="0">
            <a:noAutofit/>
          </a:bodyPr>
          <a:lstStyle/>
          <a:p>
            <a:pPr lvl="0"/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从统计信息上看，客户来自</a:t>
            </a:r>
            <a:r>
              <a:rPr lang="en-US" altLang="zh-CN" dirty="0" smtClean="0">
                <a:latin typeface="Open Sans"/>
                <a:ea typeface="Open Sans"/>
                <a:cs typeface="Open Sans"/>
                <a:sym typeface="Open Sans"/>
              </a:rPr>
              <a:t>USA</a:t>
            </a:r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，</a:t>
            </a:r>
            <a:r>
              <a:rPr lang="en-US" altLang="zh-CN" dirty="0" smtClean="0">
                <a:latin typeface="Open Sans"/>
                <a:ea typeface="Open Sans"/>
                <a:cs typeface="Open Sans"/>
                <a:sym typeface="Open Sans"/>
              </a:rPr>
              <a:t>France</a:t>
            </a:r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，</a:t>
            </a:r>
            <a:r>
              <a:rPr lang="en-US" altLang="zh-CN" dirty="0" smtClean="0">
                <a:latin typeface="Open Sans"/>
                <a:ea typeface="Open Sans"/>
                <a:cs typeface="Open Sans"/>
                <a:sym typeface="Open Sans"/>
              </a:rPr>
              <a:t>Germany</a:t>
            </a:r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，</a:t>
            </a:r>
            <a:r>
              <a:rPr lang="en-US" altLang="zh-CN" dirty="0" smtClean="0">
                <a:latin typeface="Open Sans"/>
                <a:ea typeface="Open Sans"/>
                <a:cs typeface="Open Sans"/>
                <a:sym typeface="Open Sans"/>
              </a:rPr>
              <a:t>Brazil</a:t>
            </a:r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，</a:t>
            </a:r>
            <a:r>
              <a:rPr lang="en-US" altLang="zh-CN" dirty="0" smtClean="0">
                <a:latin typeface="Open Sans"/>
                <a:ea typeface="Open Sans"/>
                <a:cs typeface="Open Sans"/>
                <a:sym typeface="Open Sans"/>
              </a:rPr>
              <a:t>UK</a:t>
            </a:r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，</a:t>
            </a:r>
            <a:r>
              <a:rPr lang="en-US" altLang="zh-CN" dirty="0" smtClean="0">
                <a:latin typeface="Open Sans"/>
                <a:ea typeface="Open Sans"/>
                <a:cs typeface="Open Sans"/>
                <a:sym typeface="Open Sans"/>
              </a:rPr>
              <a:t>Mexico</a:t>
            </a:r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等国家，并客户数由高到低排序</a:t>
            </a:r>
            <a:endParaRPr lang="en" dirty="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0" name="Shape 60"/>
          <p:cNvSpPr/>
          <p:nvPr/>
        </p:nvSpPr>
        <p:spPr>
          <a:xfrm>
            <a:off x="354300" y="1418450"/>
            <a:ext cx="4550700" cy="30726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endParaRPr lang="en" dirty="0"/>
          </a:p>
        </p:txBody>
      </p:sp>
      <p:sp>
        <p:nvSpPr>
          <p:cNvPr id="61" name="Shape 61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795600"/>
          </a:xfrm>
          <a:prstGeom prst="rect">
            <a:avLst/>
          </a:prstGeom>
          <a:solidFill>
            <a:srgbClr val="073763"/>
          </a:solidFill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zh-CN" altLang="en-US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客户 </a:t>
            </a:r>
            <a:r>
              <a:rPr lang="en-US" altLang="zh-CN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- </a:t>
            </a:r>
            <a:r>
              <a:rPr lang="zh-CN" altLang="en-US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客户来自各个国家的统计信息</a:t>
            </a:r>
            <a:endParaRPr lang="en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1291585"/>
              </p:ext>
            </p:extLst>
          </p:nvPr>
        </p:nvGraphicFramePr>
        <p:xfrm>
          <a:off x="354300" y="174785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3388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Shape 59"/>
          <p:cNvSpPr txBox="1">
            <a:spLocks noGrp="1"/>
          </p:cNvSpPr>
          <p:nvPr>
            <p:ph type="body" idx="1"/>
          </p:nvPr>
        </p:nvSpPr>
        <p:spPr>
          <a:xfrm>
            <a:off x="5158200" y="1418450"/>
            <a:ext cx="3591300" cy="3072600"/>
          </a:xfrm>
          <a:prstGeom prst="rect">
            <a:avLst/>
          </a:prstGeom>
          <a:solidFill>
            <a:srgbClr val="EFEFEF"/>
          </a:solidFill>
          <a:ln w="9525" cap="flat" cmpd="sng">
            <a:solidFill>
              <a:srgbClr val="999999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t" anchorCtr="0">
            <a:noAutofit/>
          </a:bodyPr>
          <a:lstStyle/>
          <a:p>
            <a:pPr lvl="0"/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采购金额前十的客户采购产品类型无各不相同，但大致上会采购</a:t>
            </a:r>
            <a:r>
              <a:rPr lang="en-US" altLang="zh-CN" dirty="0" smtClean="0">
                <a:latin typeface="Open Sans"/>
                <a:ea typeface="Open Sans"/>
                <a:cs typeface="Open Sans"/>
                <a:sym typeface="Open Sans"/>
              </a:rPr>
              <a:t>Produce</a:t>
            </a:r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，</a:t>
            </a:r>
            <a:r>
              <a:rPr lang="en-US" altLang="zh-CN" dirty="0" smtClean="0">
                <a:latin typeface="Open Sans"/>
                <a:ea typeface="Open Sans"/>
                <a:cs typeface="Open Sans"/>
                <a:sym typeface="Open Sans"/>
              </a:rPr>
              <a:t>Meat/Poultry</a:t>
            </a:r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，</a:t>
            </a:r>
            <a:r>
              <a:rPr lang="en-US" altLang="zh-CN" dirty="0" smtClean="0">
                <a:latin typeface="Open Sans"/>
                <a:ea typeface="Open Sans"/>
                <a:cs typeface="Open Sans"/>
                <a:sym typeface="Open Sans"/>
              </a:rPr>
              <a:t>Dairy Products</a:t>
            </a:r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和</a:t>
            </a:r>
            <a:r>
              <a:rPr lang="en-US" altLang="zh-CN" dirty="0" smtClean="0">
                <a:latin typeface="Open Sans"/>
                <a:ea typeface="Open Sans"/>
                <a:cs typeface="Open Sans"/>
                <a:sym typeface="Open Sans"/>
              </a:rPr>
              <a:t>Beverages</a:t>
            </a:r>
            <a:endParaRPr lang="en" dirty="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0" name="Shape 60"/>
          <p:cNvSpPr/>
          <p:nvPr/>
        </p:nvSpPr>
        <p:spPr>
          <a:xfrm>
            <a:off x="354300" y="1418450"/>
            <a:ext cx="4550700" cy="30726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endParaRPr lang="en" dirty="0"/>
          </a:p>
        </p:txBody>
      </p:sp>
      <p:sp>
        <p:nvSpPr>
          <p:cNvPr id="61" name="Shape 61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795600"/>
          </a:xfrm>
          <a:prstGeom prst="rect">
            <a:avLst/>
          </a:prstGeom>
          <a:solidFill>
            <a:srgbClr val="073763"/>
          </a:solidFill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zh-CN" altLang="en-US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客户 </a:t>
            </a:r>
            <a:r>
              <a:rPr lang="en-US" altLang="zh-CN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- </a:t>
            </a:r>
            <a:r>
              <a:rPr lang="zh-CN" altLang="en-US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采购金额前十名客户采购的产品种类</a:t>
            </a:r>
            <a:endParaRPr lang="en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28200377"/>
              </p:ext>
            </p:extLst>
          </p:nvPr>
        </p:nvGraphicFramePr>
        <p:xfrm>
          <a:off x="354300" y="1418450"/>
          <a:ext cx="4550700" cy="307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362712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1653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Shape 59"/>
          <p:cNvSpPr txBox="1">
            <a:spLocks noGrp="1"/>
          </p:cNvSpPr>
          <p:nvPr>
            <p:ph type="body" idx="1"/>
          </p:nvPr>
        </p:nvSpPr>
        <p:spPr>
          <a:xfrm>
            <a:off x="5158200" y="1418450"/>
            <a:ext cx="3591300" cy="3072600"/>
          </a:xfrm>
          <a:prstGeom prst="rect">
            <a:avLst/>
          </a:prstGeom>
          <a:solidFill>
            <a:srgbClr val="EFEFEF"/>
          </a:solidFill>
          <a:ln w="9525" cap="flat" cmpd="sng">
            <a:solidFill>
              <a:srgbClr val="999999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t" anchorCtr="0">
            <a:noAutofit/>
          </a:bodyPr>
          <a:lstStyle/>
          <a:p>
            <a:pPr lvl="0"/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图</a:t>
            </a:r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中列出贡献最大的</a:t>
            </a:r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前</a:t>
            </a:r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十供应商，前三名订单总额均超过</a:t>
            </a:r>
            <a:r>
              <a:rPr lang="en-US" altLang="zh-CN" dirty="0" smtClean="0">
                <a:latin typeface="Open Sans"/>
                <a:ea typeface="Open Sans"/>
                <a:cs typeface="Open Sans"/>
                <a:sym typeface="Open Sans"/>
              </a:rPr>
              <a:t>100000</a:t>
            </a:r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美元，第</a:t>
            </a:r>
            <a:r>
              <a:rPr lang="en-US" altLang="zh-CN" dirty="0" smtClean="0">
                <a:latin typeface="Open Sans"/>
                <a:ea typeface="Open Sans"/>
                <a:cs typeface="Open Sans"/>
                <a:sym typeface="Open Sans"/>
              </a:rPr>
              <a:t>10</a:t>
            </a:r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名</a:t>
            </a:r>
            <a:r>
              <a:rPr lang="en-US" altLang="zh-CN" dirty="0" smtClean="0">
                <a:latin typeface="Open Sans"/>
                <a:ea typeface="Open Sans"/>
                <a:cs typeface="Open Sans"/>
                <a:sym typeface="Open Sans"/>
              </a:rPr>
              <a:t>Norske </a:t>
            </a:r>
            <a:r>
              <a:rPr lang="en-US" altLang="zh-CN" dirty="0" err="1" smtClean="0">
                <a:latin typeface="Open Sans"/>
                <a:ea typeface="Open Sans"/>
                <a:cs typeface="Open Sans"/>
                <a:sym typeface="Open Sans"/>
              </a:rPr>
              <a:t>Meierier</a:t>
            </a:r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也超过了</a:t>
            </a:r>
            <a:r>
              <a:rPr lang="en-US" altLang="zh-CN" dirty="0" smtClean="0">
                <a:latin typeface="Open Sans"/>
                <a:ea typeface="Open Sans"/>
                <a:cs typeface="Open Sans"/>
                <a:sym typeface="Open Sans"/>
              </a:rPr>
              <a:t>40000</a:t>
            </a:r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美元</a:t>
            </a:r>
            <a:endParaRPr lang="en" dirty="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0" name="Shape 60"/>
          <p:cNvSpPr/>
          <p:nvPr/>
        </p:nvSpPr>
        <p:spPr>
          <a:xfrm>
            <a:off x="354300" y="1418450"/>
            <a:ext cx="4550700" cy="30726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endParaRPr lang="en" dirty="0"/>
          </a:p>
        </p:txBody>
      </p:sp>
      <p:sp>
        <p:nvSpPr>
          <p:cNvPr id="61" name="Shape 61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795600"/>
          </a:xfrm>
          <a:prstGeom prst="rect">
            <a:avLst/>
          </a:prstGeom>
          <a:solidFill>
            <a:srgbClr val="073763"/>
          </a:solidFill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zh-CN" altLang="en-US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供应商 </a:t>
            </a:r>
            <a:r>
              <a:rPr lang="en-US" altLang="zh-CN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– </a:t>
            </a:r>
            <a:r>
              <a:rPr lang="zh-CN" altLang="en-US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订单总额前十的供应商</a:t>
            </a:r>
            <a:endParaRPr lang="en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97284158"/>
              </p:ext>
            </p:extLst>
          </p:nvPr>
        </p:nvGraphicFramePr>
        <p:xfrm>
          <a:off x="354300" y="1418450"/>
          <a:ext cx="4550700" cy="307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09562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Shape 59"/>
          <p:cNvSpPr txBox="1">
            <a:spLocks noGrp="1"/>
          </p:cNvSpPr>
          <p:nvPr>
            <p:ph type="body" idx="1"/>
          </p:nvPr>
        </p:nvSpPr>
        <p:spPr>
          <a:xfrm>
            <a:off x="5158200" y="1418450"/>
            <a:ext cx="3591300" cy="3072600"/>
          </a:xfrm>
          <a:prstGeom prst="rect">
            <a:avLst/>
          </a:prstGeom>
          <a:solidFill>
            <a:srgbClr val="EFEFEF"/>
          </a:solidFill>
          <a:ln w="9525" cap="flat" cmpd="sng">
            <a:solidFill>
              <a:srgbClr val="999999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t" anchorCtr="0">
            <a:noAutofit/>
          </a:bodyPr>
          <a:lstStyle/>
          <a:p>
            <a:pPr lvl="0"/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订单总额前十供应商所供应的商品各不相同，且某些供应商只提供一类商品，例如</a:t>
            </a:r>
            <a:r>
              <a:rPr lang="en-US" altLang="zh-CN" dirty="0" smtClean="0">
                <a:latin typeface="Open Sans"/>
                <a:ea typeface="Open Sans"/>
                <a:cs typeface="Open Sans"/>
                <a:sym typeface="Open Sans"/>
              </a:rPr>
              <a:t>Specialty </a:t>
            </a:r>
            <a:r>
              <a:rPr lang="en-US" altLang="zh-CN" dirty="0" err="1" smtClean="0">
                <a:latin typeface="Open Sans"/>
                <a:ea typeface="Open Sans"/>
                <a:cs typeface="Open Sans"/>
                <a:sym typeface="Open Sans"/>
              </a:rPr>
              <a:t>Biscuites</a:t>
            </a:r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仅供货</a:t>
            </a:r>
            <a:r>
              <a:rPr lang="en-US" altLang="zh-CN" dirty="0" smtClean="0">
                <a:latin typeface="Open Sans"/>
                <a:ea typeface="Open Sans"/>
                <a:cs typeface="Open Sans"/>
                <a:sym typeface="Open Sans"/>
              </a:rPr>
              <a:t>Confections</a:t>
            </a:r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。某些公司则提供多样化的产品，比如</a:t>
            </a:r>
            <a:r>
              <a:rPr lang="en-US" altLang="zh-CN" dirty="0" smtClean="0">
                <a:latin typeface="Open Sans"/>
                <a:ea typeface="Open Sans"/>
                <a:cs typeface="Open Sans"/>
                <a:sym typeface="Open Sans"/>
              </a:rPr>
              <a:t>Pavlova, Ltd</a:t>
            </a:r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供应</a:t>
            </a:r>
            <a:r>
              <a:rPr lang="en-US" altLang="zh-CN" dirty="0" smtClean="0">
                <a:latin typeface="Open Sans"/>
                <a:ea typeface="Open Sans"/>
                <a:cs typeface="Open Sans"/>
                <a:sym typeface="Open Sans"/>
              </a:rPr>
              <a:t>Beverage</a:t>
            </a:r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，</a:t>
            </a:r>
            <a:r>
              <a:rPr lang="en-US" altLang="zh-CN" dirty="0" smtClean="0">
                <a:latin typeface="Open Sans"/>
                <a:ea typeface="Open Sans"/>
                <a:cs typeface="Open Sans"/>
                <a:sym typeface="Open Sans"/>
              </a:rPr>
              <a:t>Condiments</a:t>
            </a:r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，</a:t>
            </a:r>
            <a:r>
              <a:rPr lang="en-US" altLang="zh-CN" dirty="0" smtClean="0">
                <a:latin typeface="Open Sans"/>
                <a:ea typeface="Open Sans"/>
                <a:cs typeface="Open Sans"/>
                <a:sym typeface="Open Sans"/>
              </a:rPr>
              <a:t>Confections</a:t>
            </a:r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，</a:t>
            </a:r>
            <a:r>
              <a:rPr lang="en-US" altLang="zh-CN" dirty="0" smtClean="0">
                <a:latin typeface="Open Sans"/>
                <a:ea typeface="Open Sans"/>
                <a:cs typeface="Open Sans"/>
                <a:sym typeface="Open Sans"/>
              </a:rPr>
              <a:t>Meat/Poultry</a:t>
            </a:r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和</a:t>
            </a:r>
            <a:r>
              <a:rPr lang="en-US" altLang="zh-CN" dirty="0" smtClean="0">
                <a:latin typeface="Open Sans"/>
                <a:ea typeface="Open Sans"/>
                <a:cs typeface="Open Sans"/>
                <a:sym typeface="Open Sans"/>
              </a:rPr>
              <a:t>Seafood</a:t>
            </a:r>
            <a:endParaRPr lang="en" dirty="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0" name="Shape 60"/>
          <p:cNvSpPr/>
          <p:nvPr/>
        </p:nvSpPr>
        <p:spPr>
          <a:xfrm>
            <a:off x="354300" y="1418450"/>
            <a:ext cx="4550700" cy="30726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endParaRPr lang="en" dirty="0"/>
          </a:p>
        </p:txBody>
      </p:sp>
      <p:sp>
        <p:nvSpPr>
          <p:cNvPr id="61" name="Shape 61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795600"/>
          </a:xfrm>
          <a:prstGeom prst="rect">
            <a:avLst/>
          </a:prstGeom>
          <a:solidFill>
            <a:srgbClr val="073763"/>
          </a:solidFill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zh-CN" altLang="en-US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供应商 </a:t>
            </a:r>
            <a:r>
              <a:rPr lang="en-US" altLang="zh-CN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– </a:t>
            </a:r>
            <a:r>
              <a:rPr lang="zh-CN" altLang="en-US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订单总额前十的供应商</a:t>
            </a:r>
            <a:endParaRPr lang="en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76776418"/>
              </p:ext>
            </p:extLst>
          </p:nvPr>
        </p:nvGraphicFramePr>
        <p:xfrm>
          <a:off x="354300" y="1418451"/>
          <a:ext cx="4550700" cy="307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910083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9742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Shape 59"/>
          <p:cNvSpPr txBox="1">
            <a:spLocks noGrp="1"/>
          </p:cNvSpPr>
          <p:nvPr>
            <p:ph type="body" idx="1"/>
          </p:nvPr>
        </p:nvSpPr>
        <p:spPr>
          <a:xfrm>
            <a:off x="5158200" y="1418450"/>
            <a:ext cx="3591300" cy="3072600"/>
          </a:xfrm>
          <a:prstGeom prst="rect">
            <a:avLst/>
          </a:prstGeom>
          <a:solidFill>
            <a:srgbClr val="EFEFEF"/>
          </a:solidFill>
          <a:ln w="9525" cap="flat" cmpd="sng">
            <a:solidFill>
              <a:srgbClr val="999999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t" anchorCtr="0">
            <a:noAutofit/>
          </a:bodyPr>
          <a:lstStyle/>
          <a:p>
            <a:pPr lvl="0"/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从</a:t>
            </a:r>
            <a:r>
              <a:rPr lang="en-US" altLang="zh-CN" dirty="0" smtClean="0">
                <a:latin typeface="Open Sans"/>
                <a:ea typeface="Open Sans"/>
                <a:cs typeface="Open Sans"/>
                <a:sym typeface="Open Sans"/>
              </a:rPr>
              <a:t>2014</a:t>
            </a:r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，</a:t>
            </a:r>
            <a:r>
              <a:rPr lang="en-US" altLang="zh-CN" dirty="0" smtClean="0">
                <a:latin typeface="Open Sans"/>
                <a:ea typeface="Open Sans"/>
                <a:cs typeface="Open Sans"/>
                <a:sym typeface="Open Sans"/>
              </a:rPr>
              <a:t>2015</a:t>
            </a:r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及</a:t>
            </a:r>
            <a:r>
              <a:rPr lang="en-US" altLang="zh-CN" dirty="0" smtClean="0">
                <a:latin typeface="Open Sans"/>
                <a:ea typeface="Open Sans"/>
                <a:cs typeface="Open Sans"/>
                <a:sym typeface="Open Sans"/>
              </a:rPr>
              <a:t>2016</a:t>
            </a:r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季度各产品的销售趋势上来看，各产品销量均存在波动趋势，但仍呈现一定增长。同时</a:t>
            </a:r>
            <a:r>
              <a:rPr lang="en-US" altLang="zh-CN" dirty="0" smtClean="0">
                <a:latin typeface="Open Sans"/>
                <a:ea typeface="Open Sans"/>
                <a:cs typeface="Open Sans"/>
                <a:sym typeface="Open Sans"/>
              </a:rPr>
              <a:t>Beverages</a:t>
            </a:r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在</a:t>
            </a:r>
            <a:r>
              <a:rPr lang="en-US" altLang="zh-CN" dirty="0" smtClean="0">
                <a:latin typeface="Open Sans"/>
                <a:ea typeface="Open Sans"/>
                <a:cs typeface="Open Sans"/>
                <a:sym typeface="Open Sans"/>
              </a:rPr>
              <a:t>2016</a:t>
            </a:r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第二季度出现大幅度销量提升，当季度销量达到</a:t>
            </a:r>
            <a:r>
              <a:rPr lang="en-US" altLang="zh-CN" dirty="0" smtClean="0">
                <a:latin typeface="Open Sans"/>
                <a:ea typeface="Open Sans"/>
                <a:cs typeface="Open Sans"/>
                <a:sym typeface="Open Sans"/>
              </a:rPr>
              <a:t>90000</a:t>
            </a:r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美元</a:t>
            </a:r>
            <a:endParaRPr lang="en" dirty="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0" name="Shape 60"/>
          <p:cNvSpPr/>
          <p:nvPr/>
        </p:nvSpPr>
        <p:spPr>
          <a:xfrm>
            <a:off x="354300" y="1418450"/>
            <a:ext cx="4550700" cy="30726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endParaRPr lang="en" dirty="0"/>
          </a:p>
        </p:txBody>
      </p:sp>
      <p:sp>
        <p:nvSpPr>
          <p:cNvPr id="61" name="Shape 61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795600"/>
          </a:xfrm>
          <a:prstGeom prst="rect">
            <a:avLst/>
          </a:prstGeom>
          <a:solidFill>
            <a:srgbClr val="073763"/>
          </a:solidFill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zh-CN" altLang="en-US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产品 </a:t>
            </a:r>
            <a:r>
              <a:rPr lang="en-US" altLang="zh-CN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– </a:t>
            </a:r>
            <a:r>
              <a:rPr lang="zh-CN" altLang="en-US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产品季度销量变化</a:t>
            </a:r>
            <a:endParaRPr lang="en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22754702"/>
              </p:ext>
            </p:extLst>
          </p:nvPr>
        </p:nvGraphicFramePr>
        <p:xfrm>
          <a:off x="354300" y="1418451"/>
          <a:ext cx="4550700" cy="307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076647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2319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Shape 59"/>
          <p:cNvSpPr txBox="1">
            <a:spLocks noGrp="1"/>
          </p:cNvSpPr>
          <p:nvPr>
            <p:ph type="body" idx="1"/>
          </p:nvPr>
        </p:nvSpPr>
        <p:spPr>
          <a:xfrm>
            <a:off x="5158200" y="1418450"/>
            <a:ext cx="3591300" cy="3072600"/>
          </a:xfrm>
          <a:prstGeom prst="rect">
            <a:avLst/>
          </a:prstGeom>
          <a:solidFill>
            <a:srgbClr val="EFEFEF"/>
          </a:solidFill>
          <a:ln w="9525" cap="flat" cmpd="sng">
            <a:solidFill>
              <a:srgbClr val="999999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t" anchorCtr="0">
            <a:noAutofit/>
          </a:bodyPr>
          <a:lstStyle/>
          <a:p>
            <a:pPr lvl="0"/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业绩最好的雇员名字叫</a:t>
            </a:r>
            <a:r>
              <a:rPr lang="en-US" altLang="zh-CN" dirty="0">
                <a:latin typeface="Open Sans"/>
                <a:ea typeface="Open Sans"/>
                <a:cs typeface="Open Sans"/>
                <a:sym typeface="Open Sans"/>
              </a:rPr>
              <a:t>Margaret Peacock</a:t>
            </a:r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，来自美国，销售额</a:t>
            </a:r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差不多</a:t>
            </a:r>
            <a:r>
              <a:rPr lang="en-US" altLang="zh-CN" dirty="0">
                <a:latin typeface="Open Sans"/>
                <a:ea typeface="Open Sans"/>
                <a:cs typeface="Open Sans"/>
                <a:sym typeface="Open Sans"/>
              </a:rPr>
              <a:t>230000</a:t>
            </a:r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美元。</a:t>
            </a:r>
            <a:endParaRPr lang="en-US" altLang="zh-CN" dirty="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0" name="Shape 60"/>
          <p:cNvSpPr/>
          <p:nvPr/>
        </p:nvSpPr>
        <p:spPr>
          <a:xfrm>
            <a:off x="354300" y="1418450"/>
            <a:ext cx="4550700" cy="30726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endParaRPr lang="en" dirty="0"/>
          </a:p>
        </p:txBody>
      </p:sp>
      <p:sp>
        <p:nvSpPr>
          <p:cNvPr id="61" name="Shape 61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795600"/>
          </a:xfrm>
          <a:prstGeom prst="rect">
            <a:avLst/>
          </a:prstGeom>
          <a:solidFill>
            <a:srgbClr val="073763"/>
          </a:solidFill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zh-CN" altLang="en-US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雇员 </a:t>
            </a:r>
            <a:r>
              <a:rPr lang="en-US" altLang="zh-CN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– </a:t>
            </a:r>
            <a:r>
              <a:rPr lang="zh-CN" altLang="en-US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业绩最好的雇员</a:t>
            </a:r>
            <a:endParaRPr lang="en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1974" y="2395013"/>
            <a:ext cx="4315351" cy="661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9342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7535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Shape 59"/>
          <p:cNvSpPr txBox="1">
            <a:spLocks noGrp="1"/>
          </p:cNvSpPr>
          <p:nvPr>
            <p:ph type="body" idx="1"/>
          </p:nvPr>
        </p:nvSpPr>
        <p:spPr>
          <a:xfrm>
            <a:off x="5158200" y="1418450"/>
            <a:ext cx="3591300" cy="3072600"/>
          </a:xfrm>
          <a:prstGeom prst="rect">
            <a:avLst/>
          </a:prstGeom>
          <a:solidFill>
            <a:srgbClr val="EFEFEF"/>
          </a:solidFill>
          <a:ln w="9525" cap="flat" cmpd="sng">
            <a:solidFill>
              <a:srgbClr val="999999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t" anchorCtr="0">
            <a:noAutofit/>
          </a:bodyPr>
          <a:lstStyle/>
          <a:p>
            <a:pPr lvl="0"/>
            <a:r>
              <a:rPr lang="zh-CN" altLang="en-US" dirty="0">
                <a:latin typeface="Open Sans"/>
                <a:ea typeface="Open Sans"/>
                <a:cs typeface="Open Sans"/>
                <a:sym typeface="Open Sans"/>
              </a:rPr>
              <a:t>业绩最好的</a:t>
            </a:r>
            <a:r>
              <a:rPr lang="zh-CN" altLang="en-US" dirty="0" smtClean="0">
                <a:latin typeface="Open Sans"/>
                <a:ea typeface="Open Sans"/>
                <a:cs typeface="Open Sans"/>
                <a:sym typeface="Open Sans"/>
              </a:rPr>
              <a:t>雇员销售的产品也多种多样，产品类型的分布也非常平均</a:t>
            </a:r>
            <a:endParaRPr lang="en-US" altLang="zh-CN" dirty="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0" name="Shape 60"/>
          <p:cNvSpPr/>
          <p:nvPr/>
        </p:nvSpPr>
        <p:spPr>
          <a:xfrm>
            <a:off x="354300" y="1418450"/>
            <a:ext cx="4550700" cy="30726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endParaRPr lang="en" dirty="0"/>
          </a:p>
        </p:txBody>
      </p:sp>
      <p:sp>
        <p:nvSpPr>
          <p:cNvPr id="61" name="Shape 61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795600"/>
          </a:xfrm>
          <a:prstGeom prst="rect">
            <a:avLst/>
          </a:prstGeom>
          <a:solidFill>
            <a:srgbClr val="073763"/>
          </a:solidFill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zh-CN" altLang="en-US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雇员 </a:t>
            </a:r>
            <a:r>
              <a:rPr lang="en-US" altLang="zh-CN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– </a:t>
            </a:r>
            <a:r>
              <a:rPr lang="zh-CN" altLang="en-US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业绩最好的雇员</a:t>
            </a:r>
            <a:r>
              <a:rPr lang="zh-CN" altLang="en-US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销售</a:t>
            </a:r>
            <a:r>
              <a:rPr lang="zh-CN" altLang="en-US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的产品种类</a:t>
            </a:r>
            <a:endParaRPr lang="en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78901262"/>
              </p:ext>
            </p:extLst>
          </p:nvPr>
        </p:nvGraphicFramePr>
        <p:xfrm>
          <a:off x="333000" y="1418450"/>
          <a:ext cx="4572000" cy="307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620878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-light-2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46</Words>
  <Application>Microsoft Office PowerPoint</Application>
  <PresentationFormat>On-screen Show (16:9)</PresentationFormat>
  <Paragraphs>134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Arial</vt:lpstr>
      <vt:lpstr>Open Sans</vt:lpstr>
      <vt:lpstr>simple-light-2</vt:lpstr>
      <vt:lpstr>think-cell Slide</vt:lpstr>
      <vt:lpstr>客户 - 客户来自各个国家的统计信息</vt:lpstr>
      <vt:lpstr>客户 - 采购金额前十名客户采购的产品种类</vt:lpstr>
      <vt:lpstr>供应商 – 订单总额前十的供应商</vt:lpstr>
      <vt:lpstr>供应商 – 订单总额前十的供应商</vt:lpstr>
      <vt:lpstr>产品 – 产品季度销量变化</vt:lpstr>
      <vt:lpstr>雇员 – 业绩最好的雇员</vt:lpstr>
      <vt:lpstr>雇员 – 业绩最好的雇员销售的产品种类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i, Keyu (133)</dc:creator>
  <cp:lastModifiedBy>Bai, Keyu (133)</cp:lastModifiedBy>
  <cp:revision>16</cp:revision>
  <dcterms:modified xsi:type="dcterms:W3CDTF">2019-08-30T10:58:13Z</dcterms:modified>
</cp:coreProperties>
</file>